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19"/>
  </p:notesMasterIdLst>
  <p:handoutMasterIdLst>
    <p:handoutMasterId r:id="rId20"/>
  </p:handoutMasterIdLst>
  <p:sldIdLst>
    <p:sldId id="627" r:id="rId2"/>
    <p:sldId id="630" r:id="rId3"/>
    <p:sldId id="644" r:id="rId4"/>
    <p:sldId id="633" r:id="rId5"/>
    <p:sldId id="643" r:id="rId6"/>
    <p:sldId id="649" r:id="rId7"/>
    <p:sldId id="634" r:id="rId8"/>
    <p:sldId id="636" r:id="rId9"/>
    <p:sldId id="637" r:id="rId10"/>
    <p:sldId id="638" r:id="rId11"/>
    <p:sldId id="635" r:id="rId12"/>
    <p:sldId id="639" r:id="rId13"/>
    <p:sldId id="640" r:id="rId14"/>
    <p:sldId id="641" r:id="rId15"/>
    <p:sldId id="642" r:id="rId16"/>
    <p:sldId id="650" r:id="rId17"/>
    <p:sldId id="648" r:id="rId18"/>
  </p:sldIdLst>
  <p:sldSz cx="12192000" cy="6858000"/>
  <p:notesSz cx="6858000" cy="9144000"/>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45EAED"/>
    <a:srgbClr val="FFFF00"/>
    <a:srgbClr val="70AD10"/>
    <a:srgbClr val="FF8394"/>
    <a:srgbClr val="E3001F"/>
    <a:srgbClr val="68D1F3"/>
    <a:srgbClr val="461063"/>
    <a:srgbClr val="00C27A"/>
    <a:srgbClr val="1459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40" autoAdjust="0"/>
    <p:restoredTop sz="96215" autoAdjust="0"/>
  </p:normalViewPr>
  <p:slideViewPr>
    <p:cSldViewPr>
      <p:cViewPr varScale="1">
        <p:scale>
          <a:sx n="114" d="100"/>
          <a:sy n="114" d="100"/>
        </p:scale>
        <p:origin x="414" y="102"/>
      </p:cViewPr>
      <p:guideLst>
        <p:guide orient="horz" pos="2160"/>
        <p:guide orient="horz" pos="1207"/>
        <p:guide orient="horz" pos="1117"/>
        <p:guide pos="3840"/>
      </p:guideLst>
    </p:cSldViewPr>
  </p:slideViewPr>
  <p:outlineViewPr>
    <p:cViewPr>
      <p:scale>
        <a:sx n="33" d="100"/>
        <a:sy n="33" d="100"/>
      </p:scale>
      <p:origin x="0" y="-58590"/>
    </p:cViewPr>
  </p:outlineViewPr>
  <p:notesTextViewPr>
    <p:cViewPr>
      <p:scale>
        <a:sx n="3" d="2"/>
        <a:sy n="3" d="2"/>
      </p:scale>
      <p:origin x="0" y="0"/>
    </p:cViewPr>
  </p:notesTextViewPr>
  <p:sorterViewPr>
    <p:cViewPr>
      <p:scale>
        <a:sx n="50" d="100"/>
        <a:sy n="50" d="100"/>
      </p:scale>
      <p:origin x="0" y="0"/>
    </p:cViewPr>
  </p:sorterViewPr>
  <p:notesViewPr>
    <p:cSldViewPr>
      <p:cViewPr>
        <p:scale>
          <a:sx n="100" d="100"/>
          <a:sy n="100" d="100"/>
        </p:scale>
        <p:origin x="1866" y="-3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bkowiak, Krzysztof" userId="23abe35d-1222-4fa7-ab63-33aaa6c71d43" providerId="ADAL" clId="{9454CCA4-6B62-4E39-873D-675E65EE0914}"/>
    <pc:docChg chg="modSld">
      <pc:chgData name="Sobkowiak, Krzysztof" userId="23abe35d-1222-4fa7-ab63-33aaa6c71d43" providerId="ADAL" clId="{9454CCA4-6B62-4E39-873D-675E65EE0914}" dt="2021-04-17T20:04:57.743" v="26" actId="20577"/>
      <pc:docMkLst>
        <pc:docMk/>
      </pc:docMkLst>
      <pc:sldChg chg="modSp mod">
        <pc:chgData name="Sobkowiak, Krzysztof" userId="23abe35d-1222-4fa7-ab63-33aaa6c71d43" providerId="ADAL" clId="{9454CCA4-6B62-4E39-873D-675E65EE0914}" dt="2021-04-17T20:04:57.743" v="26" actId="20577"/>
        <pc:sldMkLst>
          <pc:docMk/>
          <pc:sldMk cId="1694368425" sldId="627"/>
        </pc:sldMkLst>
        <pc:spChg chg="mod">
          <ac:chgData name="Sobkowiak, Krzysztof" userId="23abe35d-1222-4fa7-ab63-33aaa6c71d43" providerId="ADAL" clId="{9454CCA4-6B62-4E39-873D-675E65EE0914}" dt="2021-04-17T20:04:57.743" v="26" actId="20577"/>
          <ac:spMkLst>
            <pc:docMk/>
            <pc:sldMk cId="1694368425" sldId="627"/>
            <ac:spMk id="5"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E863FE-736D-4E5B-A302-DD2227040FB1}" type="doc">
      <dgm:prSet loTypeId="urn:microsoft.com/office/officeart/2005/8/layout/radial5" loCatId="cycle" qsTypeId="urn:microsoft.com/office/officeart/2005/8/quickstyle/simple1" qsCatId="simple" csTypeId="urn:microsoft.com/office/officeart/2005/8/colors/colorful1" csCatId="colorful" phldr="1"/>
      <dgm:spPr/>
      <dgm:t>
        <a:bodyPr/>
        <a:lstStyle/>
        <a:p>
          <a:endParaRPr lang="de-DE"/>
        </a:p>
      </dgm:t>
    </dgm:pt>
    <dgm:pt modelId="{F7114BA8-3581-46D6-B97D-440795086E3B}">
      <dgm:prSet phldrT="[Text]"/>
      <dgm:spPr/>
      <dgm:t>
        <a:bodyPr/>
        <a:lstStyle/>
        <a:p>
          <a:r>
            <a:rPr lang="pl-PL" dirty="0"/>
            <a:t>Cloud</a:t>
          </a:r>
          <a:endParaRPr lang="de-DE" dirty="0"/>
        </a:p>
      </dgm:t>
    </dgm:pt>
    <dgm:pt modelId="{7CAEB464-B34C-4534-BF3C-2646CEDCDEA1}" type="parTrans" cxnId="{597825E1-0C56-4116-B2C8-EABF03A9585F}">
      <dgm:prSet/>
      <dgm:spPr/>
      <dgm:t>
        <a:bodyPr/>
        <a:lstStyle/>
        <a:p>
          <a:endParaRPr lang="de-DE"/>
        </a:p>
      </dgm:t>
    </dgm:pt>
    <dgm:pt modelId="{7C456F8B-A1FB-4013-BB1A-FEFDCC5ECAD3}" type="sibTrans" cxnId="{597825E1-0C56-4116-B2C8-EABF03A9585F}">
      <dgm:prSet/>
      <dgm:spPr/>
      <dgm:t>
        <a:bodyPr/>
        <a:lstStyle/>
        <a:p>
          <a:endParaRPr lang="de-DE"/>
        </a:p>
      </dgm:t>
    </dgm:pt>
    <dgm:pt modelId="{29D985BB-B89F-4B97-A360-9FDF0A1AFF7B}">
      <dgm:prSet phldrT="[Text]"/>
      <dgm:spPr/>
      <dgm:t>
        <a:bodyPr/>
        <a:lstStyle/>
        <a:p>
          <a:r>
            <a:rPr lang="pl-PL" dirty="0"/>
            <a:t>Resource pooling</a:t>
          </a:r>
          <a:endParaRPr lang="de-DE" dirty="0"/>
        </a:p>
      </dgm:t>
    </dgm:pt>
    <dgm:pt modelId="{E8DE2128-A215-4325-BC7D-B76D3531354C}" type="parTrans" cxnId="{857404AB-31AF-4A92-988E-9CE70BC1EDFA}">
      <dgm:prSet/>
      <dgm:spPr/>
      <dgm:t>
        <a:bodyPr/>
        <a:lstStyle/>
        <a:p>
          <a:endParaRPr lang="de-DE"/>
        </a:p>
      </dgm:t>
    </dgm:pt>
    <dgm:pt modelId="{36D4CCFC-A2F7-4FCC-A544-F55FC4CF3A2D}" type="sibTrans" cxnId="{857404AB-31AF-4A92-988E-9CE70BC1EDFA}">
      <dgm:prSet/>
      <dgm:spPr/>
      <dgm:t>
        <a:bodyPr/>
        <a:lstStyle/>
        <a:p>
          <a:endParaRPr lang="de-DE"/>
        </a:p>
      </dgm:t>
    </dgm:pt>
    <dgm:pt modelId="{251CA521-1A1D-457A-A924-1662BC8C8C9C}">
      <dgm:prSet phldrT="[Text]"/>
      <dgm:spPr/>
      <dgm:t>
        <a:bodyPr/>
        <a:lstStyle/>
        <a:p>
          <a:r>
            <a:rPr lang="pl-PL" dirty="0"/>
            <a:t>Broad network access</a:t>
          </a:r>
          <a:endParaRPr lang="de-DE" dirty="0"/>
        </a:p>
      </dgm:t>
    </dgm:pt>
    <dgm:pt modelId="{97803E2E-5AB0-4FA6-B3B7-8E82CA376164}" type="parTrans" cxnId="{655A01A3-F9B2-47FA-B0BE-0F0D4EA9645B}">
      <dgm:prSet/>
      <dgm:spPr/>
      <dgm:t>
        <a:bodyPr/>
        <a:lstStyle/>
        <a:p>
          <a:endParaRPr lang="de-DE"/>
        </a:p>
      </dgm:t>
    </dgm:pt>
    <dgm:pt modelId="{30E6B619-B03A-44B9-8782-76C511849E53}" type="sibTrans" cxnId="{655A01A3-F9B2-47FA-B0BE-0F0D4EA9645B}">
      <dgm:prSet/>
      <dgm:spPr/>
      <dgm:t>
        <a:bodyPr/>
        <a:lstStyle/>
        <a:p>
          <a:endParaRPr lang="de-DE"/>
        </a:p>
      </dgm:t>
    </dgm:pt>
    <dgm:pt modelId="{B2C975C9-D0A4-456E-AB19-526FA7576C64}">
      <dgm:prSet phldrT="[Text]"/>
      <dgm:spPr/>
      <dgm:t>
        <a:bodyPr/>
        <a:lstStyle/>
        <a:p>
          <a:r>
            <a:rPr lang="pl-PL" dirty="0"/>
            <a:t>Rapid elasticity</a:t>
          </a:r>
          <a:endParaRPr lang="de-DE" dirty="0"/>
        </a:p>
      </dgm:t>
    </dgm:pt>
    <dgm:pt modelId="{54438F07-0E43-442A-AAD1-30CEDF13BCCF}" type="parTrans" cxnId="{52189138-11F3-40E3-88A3-5C44A6CF1357}">
      <dgm:prSet/>
      <dgm:spPr/>
      <dgm:t>
        <a:bodyPr/>
        <a:lstStyle/>
        <a:p>
          <a:endParaRPr lang="de-DE"/>
        </a:p>
      </dgm:t>
    </dgm:pt>
    <dgm:pt modelId="{8B0DCB6E-F576-46E1-AD91-8A9BEFCFB877}" type="sibTrans" cxnId="{52189138-11F3-40E3-88A3-5C44A6CF1357}">
      <dgm:prSet/>
      <dgm:spPr/>
      <dgm:t>
        <a:bodyPr/>
        <a:lstStyle/>
        <a:p>
          <a:endParaRPr lang="de-DE"/>
        </a:p>
      </dgm:t>
    </dgm:pt>
    <dgm:pt modelId="{D04B4054-ACDC-4A2D-834E-B24D85A30F5B}">
      <dgm:prSet phldrT="[Text]"/>
      <dgm:spPr/>
      <dgm:t>
        <a:bodyPr/>
        <a:lstStyle/>
        <a:p>
          <a:r>
            <a:rPr lang="pl-PL" dirty="0"/>
            <a:t>On-demand self service</a:t>
          </a:r>
          <a:endParaRPr lang="de-DE" dirty="0"/>
        </a:p>
      </dgm:t>
    </dgm:pt>
    <dgm:pt modelId="{AE11C877-4566-4039-9EB7-C14614D2D32F}" type="parTrans" cxnId="{C7293062-1B91-4810-89BD-C948B8FA85A7}">
      <dgm:prSet/>
      <dgm:spPr/>
      <dgm:t>
        <a:bodyPr/>
        <a:lstStyle/>
        <a:p>
          <a:endParaRPr lang="de-DE"/>
        </a:p>
      </dgm:t>
    </dgm:pt>
    <dgm:pt modelId="{25AE2BA7-1E56-4F1B-A697-2404BF349612}" type="sibTrans" cxnId="{C7293062-1B91-4810-89BD-C948B8FA85A7}">
      <dgm:prSet/>
      <dgm:spPr/>
      <dgm:t>
        <a:bodyPr/>
        <a:lstStyle/>
        <a:p>
          <a:endParaRPr lang="de-DE"/>
        </a:p>
      </dgm:t>
    </dgm:pt>
    <dgm:pt modelId="{4D27BEC7-229D-419B-967A-ED5A9E5E3FA5}">
      <dgm:prSet phldrT="[Text]"/>
      <dgm:spPr/>
      <dgm:t>
        <a:bodyPr/>
        <a:lstStyle/>
        <a:p>
          <a:r>
            <a:rPr lang="pl-PL" dirty="0"/>
            <a:t>Measured service</a:t>
          </a:r>
          <a:endParaRPr lang="de-DE" dirty="0"/>
        </a:p>
      </dgm:t>
    </dgm:pt>
    <dgm:pt modelId="{C04A8B39-B410-4C7F-9A2F-E4A8EBC40FE7}" type="parTrans" cxnId="{8B6A012D-FB5E-457D-9DEE-9F94FD7BAF8C}">
      <dgm:prSet/>
      <dgm:spPr/>
      <dgm:t>
        <a:bodyPr/>
        <a:lstStyle/>
        <a:p>
          <a:endParaRPr lang="de-DE"/>
        </a:p>
      </dgm:t>
    </dgm:pt>
    <dgm:pt modelId="{6B808F07-8709-4645-9D51-F274D3079E81}" type="sibTrans" cxnId="{8B6A012D-FB5E-457D-9DEE-9F94FD7BAF8C}">
      <dgm:prSet/>
      <dgm:spPr/>
      <dgm:t>
        <a:bodyPr/>
        <a:lstStyle/>
        <a:p>
          <a:endParaRPr lang="de-DE"/>
        </a:p>
      </dgm:t>
    </dgm:pt>
    <dgm:pt modelId="{9C330D93-226A-444F-A828-92B776D22F9B}" type="pres">
      <dgm:prSet presAssocID="{CCE863FE-736D-4E5B-A302-DD2227040FB1}" presName="Name0" presStyleCnt="0">
        <dgm:presLayoutVars>
          <dgm:chMax val="1"/>
          <dgm:dir/>
          <dgm:animLvl val="ctr"/>
          <dgm:resizeHandles val="exact"/>
        </dgm:presLayoutVars>
      </dgm:prSet>
      <dgm:spPr/>
    </dgm:pt>
    <dgm:pt modelId="{2841C034-75EC-4C65-99A3-6F0ECCEECAD7}" type="pres">
      <dgm:prSet presAssocID="{F7114BA8-3581-46D6-B97D-440795086E3B}" presName="centerShape" presStyleLbl="node0" presStyleIdx="0" presStyleCnt="1"/>
      <dgm:spPr/>
    </dgm:pt>
    <dgm:pt modelId="{A4BB5BA5-8266-4C3A-A6B6-07B17227620D}" type="pres">
      <dgm:prSet presAssocID="{E8DE2128-A215-4325-BC7D-B76D3531354C}" presName="parTrans" presStyleLbl="sibTrans2D1" presStyleIdx="0" presStyleCnt="5"/>
      <dgm:spPr/>
    </dgm:pt>
    <dgm:pt modelId="{313D15A0-B0C9-41D4-8C27-981BFD2A7D7A}" type="pres">
      <dgm:prSet presAssocID="{E8DE2128-A215-4325-BC7D-B76D3531354C}" presName="connectorText" presStyleLbl="sibTrans2D1" presStyleIdx="0" presStyleCnt="5"/>
      <dgm:spPr/>
    </dgm:pt>
    <dgm:pt modelId="{07098F9C-D486-4C14-A472-BA7ABA4B7D98}" type="pres">
      <dgm:prSet presAssocID="{29D985BB-B89F-4B97-A360-9FDF0A1AFF7B}" presName="node" presStyleLbl="node1" presStyleIdx="0" presStyleCnt="5">
        <dgm:presLayoutVars>
          <dgm:bulletEnabled val="1"/>
        </dgm:presLayoutVars>
      </dgm:prSet>
      <dgm:spPr/>
    </dgm:pt>
    <dgm:pt modelId="{401E27E1-B7F4-4E7D-8BB4-258E69B658B6}" type="pres">
      <dgm:prSet presAssocID="{97803E2E-5AB0-4FA6-B3B7-8E82CA376164}" presName="parTrans" presStyleLbl="sibTrans2D1" presStyleIdx="1" presStyleCnt="5"/>
      <dgm:spPr/>
    </dgm:pt>
    <dgm:pt modelId="{C4200AF0-0CBB-49B6-8594-A2DB5FB4D51A}" type="pres">
      <dgm:prSet presAssocID="{97803E2E-5AB0-4FA6-B3B7-8E82CA376164}" presName="connectorText" presStyleLbl="sibTrans2D1" presStyleIdx="1" presStyleCnt="5"/>
      <dgm:spPr/>
    </dgm:pt>
    <dgm:pt modelId="{344242E5-6317-4606-8D57-B7C28BA7B4B3}" type="pres">
      <dgm:prSet presAssocID="{251CA521-1A1D-457A-A924-1662BC8C8C9C}" presName="node" presStyleLbl="node1" presStyleIdx="1" presStyleCnt="5">
        <dgm:presLayoutVars>
          <dgm:bulletEnabled val="1"/>
        </dgm:presLayoutVars>
      </dgm:prSet>
      <dgm:spPr/>
    </dgm:pt>
    <dgm:pt modelId="{69A38ECB-FFCE-4DB2-BDC5-12473AFECB1D}" type="pres">
      <dgm:prSet presAssocID="{54438F07-0E43-442A-AAD1-30CEDF13BCCF}" presName="parTrans" presStyleLbl="sibTrans2D1" presStyleIdx="2" presStyleCnt="5"/>
      <dgm:spPr/>
    </dgm:pt>
    <dgm:pt modelId="{3A0423BB-C514-438A-942E-8DF5A82EEEC5}" type="pres">
      <dgm:prSet presAssocID="{54438F07-0E43-442A-AAD1-30CEDF13BCCF}" presName="connectorText" presStyleLbl="sibTrans2D1" presStyleIdx="2" presStyleCnt="5"/>
      <dgm:spPr/>
    </dgm:pt>
    <dgm:pt modelId="{516FA01A-58CE-4A58-A4E0-6E28DEA342F3}" type="pres">
      <dgm:prSet presAssocID="{B2C975C9-D0A4-456E-AB19-526FA7576C64}" presName="node" presStyleLbl="node1" presStyleIdx="2" presStyleCnt="5">
        <dgm:presLayoutVars>
          <dgm:bulletEnabled val="1"/>
        </dgm:presLayoutVars>
      </dgm:prSet>
      <dgm:spPr/>
    </dgm:pt>
    <dgm:pt modelId="{5A3AD635-D106-4BD5-9857-823BEA08304F}" type="pres">
      <dgm:prSet presAssocID="{AE11C877-4566-4039-9EB7-C14614D2D32F}" presName="parTrans" presStyleLbl="sibTrans2D1" presStyleIdx="3" presStyleCnt="5"/>
      <dgm:spPr/>
    </dgm:pt>
    <dgm:pt modelId="{17F8BB9D-E6E1-40AD-A804-DC00DC3E960E}" type="pres">
      <dgm:prSet presAssocID="{AE11C877-4566-4039-9EB7-C14614D2D32F}" presName="connectorText" presStyleLbl="sibTrans2D1" presStyleIdx="3" presStyleCnt="5"/>
      <dgm:spPr/>
    </dgm:pt>
    <dgm:pt modelId="{DA6A4E62-364E-494F-AE7B-A62897C14545}" type="pres">
      <dgm:prSet presAssocID="{D04B4054-ACDC-4A2D-834E-B24D85A30F5B}" presName="node" presStyleLbl="node1" presStyleIdx="3" presStyleCnt="5">
        <dgm:presLayoutVars>
          <dgm:bulletEnabled val="1"/>
        </dgm:presLayoutVars>
      </dgm:prSet>
      <dgm:spPr/>
    </dgm:pt>
    <dgm:pt modelId="{AB27B2DD-7EC2-48AD-B917-6DC48E6A024F}" type="pres">
      <dgm:prSet presAssocID="{C04A8B39-B410-4C7F-9A2F-E4A8EBC40FE7}" presName="parTrans" presStyleLbl="sibTrans2D1" presStyleIdx="4" presStyleCnt="5"/>
      <dgm:spPr/>
    </dgm:pt>
    <dgm:pt modelId="{97D55548-C291-466A-B184-409C0E1F9D38}" type="pres">
      <dgm:prSet presAssocID="{C04A8B39-B410-4C7F-9A2F-E4A8EBC40FE7}" presName="connectorText" presStyleLbl="sibTrans2D1" presStyleIdx="4" presStyleCnt="5"/>
      <dgm:spPr/>
    </dgm:pt>
    <dgm:pt modelId="{A0B0B9B8-D772-4078-BB27-4F1B4A540D87}" type="pres">
      <dgm:prSet presAssocID="{4D27BEC7-229D-419B-967A-ED5A9E5E3FA5}" presName="node" presStyleLbl="node1" presStyleIdx="4" presStyleCnt="5">
        <dgm:presLayoutVars>
          <dgm:bulletEnabled val="1"/>
        </dgm:presLayoutVars>
      </dgm:prSet>
      <dgm:spPr/>
    </dgm:pt>
  </dgm:ptLst>
  <dgm:cxnLst>
    <dgm:cxn modelId="{ECE9D20D-E850-4D79-8B4E-278CF2BD1258}" type="presOf" srcId="{54438F07-0E43-442A-AAD1-30CEDF13BCCF}" destId="{69A38ECB-FFCE-4DB2-BDC5-12473AFECB1D}" srcOrd="0" destOrd="0" presId="urn:microsoft.com/office/officeart/2005/8/layout/radial5"/>
    <dgm:cxn modelId="{0B31B119-E764-49AE-86ED-1E3AE4367CAD}" type="presOf" srcId="{C04A8B39-B410-4C7F-9A2F-E4A8EBC40FE7}" destId="{97D55548-C291-466A-B184-409C0E1F9D38}" srcOrd="1" destOrd="0" presId="urn:microsoft.com/office/officeart/2005/8/layout/radial5"/>
    <dgm:cxn modelId="{1A0E0B20-977E-4DD0-AC7C-34D07096350A}" type="presOf" srcId="{C04A8B39-B410-4C7F-9A2F-E4A8EBC40FE7}" destId="{AB27B2DD-7EC2-48AD-B917-6DC48E6A024F}" srcOrd="0" destOrd="0" presId="urn:microsoft.com/office/officeart/2005/8/layout/radial5"/>
    <dgm:cxn modelId="{8B6A012D-FB5E-457D-9DEE-9F94FD7BAF8C}" srcId="{F7114BA8-3581-46D6-B97D-440795086E3B}" destId="{4D27BEC7-229D-419B-967A-ED5A9E5E3FA5}" srcOrd="4" destOrd="0" parTransId="{C04A8B39-B410-4C7F-9A2F-E4A8EBC40FE7}" sibTransId="{6B808F07-8709-4645-9D51-F274D3079E81}"/>
    <dgm:cxn modelId="{B1732431-9133-4E9C-A35A-9512C386C67F}" type="presOf" srcId="{251CA521-1A1D-457A-A924-1662BC8C8C9C}" destId="{344242E5-6317-4606-8D57-B7C28BA7B4B3}" srcOrd="0" destOrd="0" presId="urn:microsoft.com/office/officeart/2005/8/layout/radial5"/>
    <dgm:cxn modelId="{52189138-11F3-40E3-88A3-5C44A6CF1357}" srcId="{F7114BA8-3581-46D6-B97D-440795086E3B}" destId="{B2C975C9-D0A4-456E-AB19-526FA7576C64}" srcOrd="2" destOrd="0" parTransId="{54438F07-0E43-442A-AAD1-30CEDF13BCCF}" sibTransId="{8B0DCB6E-F576-46E1-AD91-8A9BEFCFB877}"/>
    <dgm:cxn modelId="{88B0973F-5558-4EDA-AC5A-A466820E9F7C}" type="presOf" srcId="{AE11C877-4566-4039-9EB7-C14614D2D32F}" destId="{17F8BB9D-E6E1-40AD-A804-DC00DC3E960E}" srcOrd="1" destOrd="0" presId="urn:microsoft.com/office/officeart/2005/8/layout/radial5"/>
    <dgm:cxn modelId="{C7293062-1B91-4810-89BD-C948B8FA85A7}" srcId="{F7114BA8-3581-46D6-B97D-440795086E3B}" destId="{D04B4054-ACDC-4A2D-834E-B24D85A30F5B}" srcOrd="3" destOrd="0" parTransId="{AE11C877-4566-4039-9EB7-C14614D2D32F}" sibTransId="{25AE2BA7-1E56-4F1B-A697-2404BF349612}"/>
    <dgm:cxn modelId="{15420A75-C2CD-4FEB-892F-A258EC88A311}" type="presOf" srcId="{54438F07-0E43-442A-AAD1-30CEDF13BCCF}" destId="{3A0423BB-C514-438A-942E-8DF5A82EEEC5}" srcOrd="1" destOrd="0" presId="urn:microsoft.com/office/officeart/2005/8/layout/radial5"/>
    <dgm:cxn modelId="{D7343678-8154-44C3-B008-D00B6EC6DA8E}" type="presOf" srcId="{4D27BEC7-229D-419B-967A-ED5A9E5E3FA5}" destId="{A0B0B9B8-D772-4078-BB27-4F1B4A540D87}" srcOrd="0" destOrd="0" presId="urn:microsoft.com/office/officeart/2005/8/layout/radial5"/>
    <dgm:cxn modelId="{6FFC0559-6CEC-41EE-9632-0D638B8B45A7}" type="presOf" srcId="{97803E2E-5AB0-4FA6-B3B7-8E82CA376164}" destId="{C4200AF0-0CBB-49B6-8594-A2DB5FB4D51A}" srcOrd="1" destOrd="0" presId="urn:microsoft.com/office/officeart/2005/8/layout/radial5"/>
    <dgm:cxn modelId="{A72F277A-71FA-478C-A562-95C827CFCD3B}" type="presOf" srcId="{E8DE2128-A215-4325-BC7D-B76D3531354C}" destId="{A4BB5BA5-8266-4C3A-A6B6-07B17227620D}" srcOrd="0" destOrd="0" presId="urn:microsoft.com/office/officeart/2005/8/layout/radial5"/>
    <dgm:cxn modelId="{1A578E88-9929-4C2D-9E0E-158B6131EC75}" type="presOf" srcId="{CCE863FE-736D-4E5B-A302-DD2227040FB1}" destId="{9C330D93-226A-444F-A828-92B776D22F9B}" srcOrd="0" destOrd="0" presId="urn:microsoft.com/office/officeart/2005/8/layout/radial5"/>
    <dgm:cxn modelId="{7954498A-8011-4EE5-A2FB-A15DD901278F}" type="presOf" srcId="{F7114BA8-3581-46D6-B97D-440795086E3B}" destId="{2841C034-75EC-4C65-99A3-6F0ECCEECAD7}" srcOrd="0" destOrd="0" presId="urn:microsoft.com/office/officeart/2005/8/layout/radial5"/>
    <dgm:cxn modelId="{745B2595-E409-4314-A484-A69C531A4A33}" type="presOf" srcId="{E8DE2128-A215-4325-BC7D-B76D3531354C}" destId="{313D15A0-B0C9-41D4-8C27-981BFD2A7D7A}" srcOrd="1" destOrd="0" presId="urn:microsoft.com/office/officeart/2005/8/layout/radial5"/>
    <dgm:cxn modelId="{DF923F9D-0B18-4960-A83A-8E4362258938}" type="presOf" srcId="{AE11C877-4566-4039-9EB7-C14614D2D32F}" destId="{5A3AD635-D106-4BD5-9857-823BEA08304F}" srcOrd="0" destOrd="0" presId="urn:microsoft.com/office/officeart/2005/8/layout/radial5"/>
    <dgm:cxn modelId="{655A01A3-F9B2-47FA-B0BE-0F0D4EA9645B}" srcId="{F7114BA8-3581-46D6-B97D-440795086E3B}" destId="{251CA521-1A1D-457A-A924-1662BC8C8C9C}" srcOrd="1" destOrd="0" parTransId="{97803E2E-5AB0-4FA6-B3B7-8E82CA376164}" sibTransId="{30E6B619-B03A-44B9-8782-76C511849E53}"/>
    <dgm:cxn modelId="{857404AB-31AF-4A92-988E-9CE70BC1EDFA}" srcId="{F7114BA8-3581-46D6-B97D-440795086E3B}" destId="{29D985BB-B89F-4B97-A360-9FDF0A1AFF7B}" srcOrd="0" destOrd="0" parTransId="{E8DE2128-A215-4325-BC7D-B76D3531354C}" sibTransId="{36D4CCFC-A2F7-4FCC-A544-F55FC4CF3A2D}"/>
    <dgm:cxn modelId="{74D0D9C1-40F2-4BFA-BD96-F000B8BA2454}" type="presOf" srcId="{97803E2E-5AB0-4FA6-B3B7-8E82CA376164}" destId="{401E27E1-B7F4-4E7D-8BB4-258E69B658B6}" srcOrd="0" destOrd="0" presId="urn:microsoft.com/office/officeart/2005/8/layout/radial5"/>
    <dgm:cxn modelId="{597825E1-0C56-4116-B2C8-EABF03A9585F}" srcId="{CCE863FE-736D-4E5B-A302-DD2227040FB1}" destId="{F7114BA8-3581-46D6-B97D-440795086E3B}" srcOrd="0" destOrd="0" parTransId="{7CAEB464-B34C-4534-BF3C-2646CEDCDEA1}" sibTransId="{7C456F8B-A1FB-4013-BB1A-FEFDCC5ECAD3}"/>
    <dgm:cxn modelId="{21F44AE4-FCFB-4DAA-AE95-001AF8617812}" type="presOf" srcId="{B2C975C9-D0A4-456E-AB19-526FA7576C64}" destId="{516FA01A-58CE-4A58-A4E0-6E28DEA342F3}" srcOrd="0" destOrd="0" presId="urn:microsoft.com/office/officeart/2005/8/layout/radial5"/>
    <dgm:cxn modelId="{9C46D8E8-7E36-41AA-B1CD-6371F33A2226}" type="presOf" srcId="{29D985BB-B89F-4B97-A360-9FDF0A1AFF7B}" destId="{07098F9C-D486-4C14-A472-BA7ABA4B7D98}" srcOrd="0" destOrd="0" presId="urn:microsoft.com/office/officeart/2005/8/layout/radial5"/>
    <dgm:cxn modelId="{881758FF-344F-4AE6-B859-FD2696DE56A0}" type="presOf" srcId="{D04B4054-ACDC-4A2D-834E-B24D85A30F5B}" destId="{DA6A4E62-364E-494F-AE7B-A62897C14545}" srcOrd="0" destOrd="0" presId="urn:microsoft.com/office/officeart/2005/8/layout/radial5"/>
    <dgm:cxn modelId="{B094A2F1-E663-4216-BFC7-CFDA4A8C7280}" type="presParOf" srcId="{9C330D93-226A-444F-A828-92B776D22F9B}" destId="{2841C034-75EC-4C65-99A3-6F0ECCEECAD7}" srcOrd="0" destOrd="0" presId="urn:microsoft.com/office/officeart/2005/8/layout/radial5"/>
    <dgm:cxn modelId="{441D2713-8833-407A-AD83-18E27B785D98}" type="presParOf" srcId="{9C330D93-226A-444F-A828-92B776D22F9B}" destId="{A4BB5BA5-8266-4C3A-A6B6-07B17227620D}" srcOrd="1" destOrd="0" presId="urn:microsoft.com/office/officeart/2005/8/layout/radial5"/>
    <dgm:cxn modelId="{692D51B2-DD0E-4FF8-8E98-5E4E564AFFD4}" type="presParOf" srcId="{A4BB5BA5-8266-4C3A-A6B6-07B17227620D}" destId="{313D15A0-B0C9-41D4-8C27-981BFD2A7D7A}" srcOrd="0" destOrd="0" presId="urn:microsoft.com/office/officeart/2005/8/layout/radial5"/>
    <dgm:cxn modelId="{0123474D-EBAA-461F-B883-79DA9B4F98BE}" type="presParOf" srcId="{9C330D93-226A-444F-A828-92B776D22F9B}" destId="{07098F9C-D486-4C14-A472-BA7ABA4B7D98}" srcOrd="2" destOrd="0" presId="urn:microsoft.com/office/officeart/2005/8/layout/radial5"/>
    <dgm:cxn modelId="{0D7AD331-C5FB-43A6-BD46-5DCBCB73B18B}" type="presParOf" srcId="{9C330D93-226A-444F-A828-92B776D22F9B}" destId="{401E27E1-B7F4-4E7D-8BB4-258E69B658B6}" srcOrd="3" destOrd="0" presId="urn:microsoft.com/office/officeart/2005/8/layout/radial5"/>
    <dgm:cxn modelId="{7672B2EA-7DA7-426F-8FFA-BB58C84E7626}" type="presParOf" srcId="{401E27E1-B7F4-4E7D-8BB4-258E69B658B6}" destId="{C4200AF0-0CBB-49B6-8594-A2DB5FB4D51A}" srcOrd="0" destOrd="0" presId="urn:microsoft.com/office/officeart/2005/8/layout/radial5"/>
    <dgm:cxn modelId="{C1B9EF66-FECB-411B-9FC0-7601AE02FD3D}" type="presParOf" srcId="{9C330D93-226A-444F-A828-92B776D22F9B}" destId="{344242E5-6317-4606-8D57-B7C28BA7B4B3}" srcOrd="4" destOrd="0" presId="urn:microsoft.com/office/officeart/2005/8/layout/radial5"/>
    <dgm:cxn modelId="{246AA384-02A6-4050-8937-01D508DAF98F}" type="presParOf" srcId="{9C330D93-226A-444F-A828-92B776D22F9B}" destId="{69A38ECB-FFCE-4DB2-BDC5-12473AFECB1D}" srcOrd="5" destOrd="0" presId="urn:microsoft.com/office/officeart/2005/8/layout/radial5"/>
    <dgm:cxn modelId="{FF50D33B-1803-454A-957B-B11C6FABC735}" type="presParOf" srcId="{69A38ECB-FFCE-4DB2-BDC5-12473AFECB1D}" destId="{3A0423BB-C514-438A-942E-8DF5A82EEEC5}" srcOrd="0" destOrd="0" presId="urn:microsoft.com/office/officeart/2005/8/layout/radial5"/>
    <dgm:cxn modelId="{A8BE991B-731D-4F64-BA82-A6E48FBA1E64}" type="presParOf" srcId="{9C330D93-226A-444F-A828-92B776D22F9B}" destId="{516FA01A-58CE-4A58-A4E0-6E28DEA342F3}" srcOrd="6" destOrd="0" presId="urn:microsoft.com/office/officeart/2005/8/layout/radial5"/>
    <dgm:cxn modelId="{11BC23EB-4124-48AC-B9E5-2E5CED173BEC}" type="presParOf" srcId="{9C330D93-226A-444F-A828-92B776D22F9B}" destId="{5A3AD635-D106-4BD5-9857-823BEA08304F}" srcOrd="7" destOrd="0" presId="urn:microsoft.com/office/officeart/2005/8/layout/radial5"/>
    <dgm:cxn modelId="{D7BB9DEA-B640-4CB7-B82C-0DB953B80AAE}" type="presParOf" srcId="{5A3AD635-D106-4BD5-9857-823BEA08304F}" destId="{17F8BB9D-E6E1-40AD-A804-DC00DC3E960E}" srcOrd="0" destOrd="0" presId="urn:microsoft.com/office/officeart/2005/8/layout/radial5"/>
    <dgm:cxn modelId="{F776DD12-9C8A-4204-8815-F62367BDA957}" type="presParOf" srcId="{9C330D93-226A-444F-A828-92B776D22F9B}" destId="{DA6A4E62-364E-494F-AE7B-A62897C14545}" srcOrd="8" destOrd="0" presId="urn:microsoft.com/office/officeart/2005/8/layout/radial5"/>
    <dgm:cxn modelId="{D69A36FC-769C-414C-ACCE-5CDAA43F87DB}" type="presParOf" srcId="{9C330D93-226A-444F-A828-92B776D22F9B}" destId="{AB27B2DD-7EC2-48AD-B917-6DC48E6A024F}" srcOrd="9" destOrd="0" presId="urn:microsoft.com/office/officeart/2005/8/layout/radial5"/>
    <dgm:cxn modelId="{30DADBC6-8F1B-472F-9DF4-F5FCFA775409}" type="presParOf" srcId="{AB27B2DD-7EC2-48AD-B917-6DC48E6A024F}" destId="{97D55548-C291-466A-B184-409C0E1F9D38}" srcOrd="0" destOrd="0" presId="urn:microsoft.com/office/officeart/2005/8/layout/radial5"/>
    <dgm:cxn modelId="{33A2D35B-4511-481F-85A8-8D2EA9276930}" type="presParOf" srcId="{9C330D93-226A-444F-A828-92B776D22F9B}" destId="{A0B0B9B8-D772-4078-BB27-4F1B4A540D87}"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31D21A-5C00-4403-92DD-16CB922A19BF}" type="doc">
      <dgm:prSet loTypeId="urn:microsoft.com/office/officeart/2005/8/layout/cycle3" loCatId="cycle" qsTypeId="urn:microsoft.com/office/officeart/2005/8/quickstyle/simple1" qsCatId="simple" csTypeId="urn:microsoft.com/office/officeart/2005/8/colors/colorful1" csCatId="colorful" phldr="1"/>
      <dgm:spPr/>
      <dgm:t>
        <a:bodyPr/>
        <a:lstStyle/>
        <a:p>
          <a:endParaRPr lang="de-DE"/>
        </a:p>
      </dgm:t>
    </dgm:pt>
    <dgm:pt modelId="{6F964EB0-836E-41AF-AB78-76631D458C61}">
      <dgm:prSet phldrT="[Text]"/>
      <dgm:spPr/>
      <dgm:t>
        <a:bodyPr/>
        <a:lstStyle/>
        <a:p>
          <a:r>
            <a:rPr lang="pl-PL" dirty="0"/>
            <a:t>24/7 Support</a:t>
          </a:r>
          <a:endParaRPr lang="de-DE" dirty="0"/>
        </a:p>
      </dgm:t>
    </dgm:pt>
    <dgm:pt modelId="{C68ECE6E-4872-4961-B073-B1751BBD344D}" type="parTrans" cxnId="{69258486-FC19-4FC6-AB80-9B8758DDC324}">
      <dgm:prSet/>
      <dgm:spPr/>
      <dgm:t>
        <a:bodyPr/>
        <a:lstStyle/>
        <a:p>
          <a:endParaRPr lang="de-DE"/>
        </a:p>
      </dgm:t>
    </dgm:pt>
    <dgm:pt modelId="{B88F3F6D-98B7-4055-AD5A-B5AE037AFD76}" type="sibTrans" cxnId="{69258486-FC19-4FC6-AB80-9B8758DDC324}">
      <dgm:prSet/>
      <dgm:spPr/>
      <dgm:t>
        <a:bodyPr/>
        <a:lstStyle/>
        <a:p>
          <a:endParaRPr lang="de-DE"/>
        </a:p>
      </dgm:t>
    </dgm:pt>
    <dgm:pt modelId="{D1EA530D-10B1-45FB-90BF-2152A25DECDE}">
      <dgm:prSet phldrT="[Text]"/>
      <dgm:spPr/>
      <dgm:t>
        <a:bodyPr/>
        <a:lstStyle/>
        <a:p>
          <a:r>
            <a:rPr lang="pl-PL" dirty="0"/>
            <a:t>Highly automated</a:t>
          </a:r>
          <a:endParaRPr lang="de-DE" dirty="0"/>
        </a:p>
      </dgm:t>
    </dgm:pt>
    <dgm:pt modelId="{56CAC493-A488-480E-AA54-C0B6260C01D5}" type="parTrans" cxnId="{39229007-5872-422C-AD47-B36E48A745D1}">
      <dgm:prSet/>
      <dgm:spPr/>
      <dgm:t>
        <a:bodyPr/>
        <a:lstStyle/>
        <a:p>
          <a:endParaRPr lang="de-DE"/>
        </a:p>
      </dgm:t>
    </dgm:pt>
    <dgm:pt modelId="{C89ADFB8-DED6-40B7-B50F-F269C3622BBE}" type="sibTrans" cxnId="{39229007-5872-422C-AD47-B36E48A745D1}">
      <dgm:prSet/>
      <dgm:spPr/>
      <dgm:t>
        <a:bodyPr/>
        <a:lstStyle/>
        <a:p>
          <a:endParaRPr lang="de-DE"/>
        </a:p>
      </dgm:t>
    </dgm:pt>
    <dgm:pt modelId="{2831B3F5-A0C5-41C2-A5DC-9F3826FE32F4}">
      <dgm:prSet phldrT="[Text]"/>
      <dgm:spPr/>
      <dgm:t>
        <a:bodyPr/>
        <a:lstStyle/>
        <a:p>
          <a:r>
            <a:rPr lang="pl-PL" dirty="0"/>
            <a:t>Pay as you use</a:t>
          </a:r>
          <a:endParaRPr lang="de-DE" dirty="0"/>
        </a:p>
      </dgm:t>
    </dgm:pt>
    <dgm:pt modelId="{415B6530-F482-4BF3-8077-64AD55A262E6}" type="parTrans" cxnId="{AE17EBDA-36DC-48A9-95EF-734349CD1DEA}">
      <dgm:prSet/>
      <dgm:spPr/>
      <dgm:t>
        <a:bodyPr/>
        <a:lstStyle/>
        <a:p>
          <a:endParaRPr lang="de-DE"/>
        </a:p>
      </dgm:t>
    </dgm:pt>
    <dgm:pt modelId="{AE2DD2DA-E2B3-464E-8CB2-E7574721EEB6}" type="sibTrans" cxnId="{AE17EBDA-36DC-48A9-95EF-734349CD1DEA}">
      <dgm:prSet/>
      <dgm:spPr/>
      <dgm:t>
        <a:bodyPr/>
        <a:lstStyle/>
        <a:p>
          <a:endParaRPr lang="de-DE"/>
        </a:p>
      </dgm:t>
    </dgm:pt>
    <dgm:pt modelId="{DF0B7880-4CC0-4960-AF7B-D966F328BC1D}">
      <dgm:prSet phldrT="[Text]"/>
      <dgm:spPr/>
      <dgm:t>
        <a:bodyPr/>
        <a:lstStyle/>
        <a:p>
          <a:r>
            <a:rPr lang="pl-PL" dirty="0"/>
            <a:t>Easy and agile deployment</a:t>
          </a:r>
          <a:endParaRPr lang="de-DE" dirty="0"/>
        </a:p>
      </dgm:t>
    </dgm:pt>
    <dgm:pt modelId="{15FBDDCE-335A-4E26-811E-E02C89762015}" type="parTrans" cxnId="{DDAB188F-F775-48F1-84EB-E932DB06E577}">
      <dgm:prSet/>
      <dgm:spPr/>
      <dgm:t>
        <a:bodyPr/>
        <a:lstStyle/>
        <a:p>
          <a:endParaRPr lang="de-DE"/>
        </a:p>
      </dgm:t>
    </dgm:pt>
    <dgm:pt modelId="{0736BBB5-9F4B-4CEF-8ABA-4B7E4ED45FDC}" type="sibTrans" cxnId="{DDAB188F-F775-48F1-84EB-E932DB06E577}">
      <dgm:prSet/>
      <dgm:spPr/>
      <dgm:t>
        <a:bodyPr/>
        <a:lstStyle/>
        <a:p>
          <a:endParaRPr lang="de-DE"/>
        </a:p>
      </dgm:t>
    </dgm:pt>
    <dgm:pt modelId="{0AB1D52B-6030-4B5B-B69C-5E58A4DC7348}">
      <dgm:prSet phldrT="[Text]"/>
      <dgm:spPr/>
      <dgm:t>
        <a:bodyPr/>
        <a:lstStyle/>
        <a:p>
          <a:r>
            <a:rPr lang="pl-PL" dirty="0"/>
            <a:t>Lower TCO</a:t>
          </a:r>
          <a:endParaRPr lang="de-DE" dirty="0"/>
        </a:p>
      </dgm:t>
    </dgm:pt>
    <dgm:pt modelId="{0433D674-9653-4FC6-9899-3171FEBDB977}" type="parTrans" cxnId="{0F6CCB23-8C87-4AA6-ADFC-D73FD44B6B9F}">
      <dgm:prSet/>
      <dgm:spPr/>
      <dgm:t>
        <a:bodyPr/>
        <a:lstStyle/>
        <a:p>
          <a:endParaRPr lang="de-DE"/>
        </a:p>
      </dgm:t>
    </dgm:pt>
    <dgm:pt modelId="{76937CA2-570C-457A-90DA-581AB5C3FB87}" type="sibTrans" cxnId="{0F6CCB23-8C87-4AA6-ADFC-D73FD44B6B9F}">
      <dgm:prSet/>
      <dgm:spPr/>
      <dgm:t>
        <a:bodyPr/>
        <a:lstStyle/>
        <a:p>
          <a:endParaRPr lang="de-DE"/>
        </a:p>
      </dgm:t>
    </dgm:pt>
    <dgm:pt modelId="{3E1E6218-C962-467E-B31F-2D9157E8606E}">
      <dgm:prSet phldrT="[Text]"/>
      <dgm:spPr/>
      <dgm:t>
        <a:bodyPr/>
        <a:lstStyle/>
        <a:p>
          <a:r>
            <a:rPr lang="pl-PL" dirty="0"/>
            <a:t>Secure storage manager</a:t>
          </a:r>
          <a:endParaRPr lang="de-DE" dirty="0"/>
        </a:p>
      </dgm:t>
    </dgm:pt>
    <dgm:pt modelId="{8E857D58-F8C2-47DC-A509-2914804A4653}" type="parTrans" cxnId="{C6D17E53-8AF7-4D8E-A8E7-14302C233A4E}">
      <dgm:prSet/>
      <dgm:spPr/>
      <dgm:t>
        <a:bodyPr/>
        <a:lstStyle/>
        <a:p>
          <a:endParaRPr lang="de-DE"/>
        </a:p>
      </dgm:t>
    </dgm:pt>
    <dgm:pt modelId="{76B34EDB-87F1-49E2-849F-78A8057CC717}" type="sibTrans" cxnId="{C6D17E53-8AF7-4D8E-A8E7-14302C233A4E}">
      <dgm:prSet/>
      <dgm:spPr/>
      <dgm:t>
        <a:bodyPr/>
        <a:lstStyle/>
        <a:p>
          <a:endParaRPr lang="de-DE"/>
        </a:p>
      </dgm:t>
    </dgm:pt>
    <dgm:pt modelId="{F0018521-C5DC-41E8-BC1A-16ED10E1C370}">
      <dgm:prSet phldrT="[Text]"/>
      <dgm:spPr/>
      <dgm:t>
        <a:bodyPr/>
        <a:lstStyle/>
        <a:p>
          <a:r>
            <a:rPr lang="pl-PL" dirty="0"/>
            <a:t>Frees up internal resources</a:t>
          </a:r>
          <a:endParaRPr lang="de-DE" dirty="0"/>
        </a:p>
      </dgm:t>
    </dgm:pt>
    <dgm:pt modelId="{7D0C7868-DF71-4700-A78B-1845E21D6843}" type="parTrans" cxnId="{73869F85-749D-41D4-8DCA-88EA84306F8B}">
      <dgm:prSet/>
      <dgm:spPr/>
      <dgm:t>
        <a:bodyPr/>
        <a:lstStyle/>
        <a:p>
          <a:endParaRPr lang="de-DE"/>
        </a:p>
      </dgm:t>
    </dgm:pt>
    <dgm:pt modelId="{F0FAE120-F422-4F58-9272-3A072724C3A2}" type="sibTrans" cxnId="{73869F85-749D-41D4-8DCA-88EA84306F8B}">
      <dgm:prSet/>
      <dgm:spPr/>
      <dgm:t>
        <a:bodyPr/>
        <a:lstStyle/>
        <a:p>
          <a:endParaRPr lang="de-DE"/>
        </a:p>
      </dgm:t>
    </dgm:pt>
    <dgm:pt modelId="{227DFA84-FB57-43B7-914A-BA19CF319F89}">
      <dgm:prSet phldrT="[Text]"/>
      <dgm:spPr/>
      <dgm:t>
        <a:bodyPr/>
        <a:lstStyle/>
        <a:p>
          <a:r>
            <a:rPr lang="pl-PL" dirty="0"/>
            <a:t>Device and location independent</a:t>
          </a:r>
          <a:endParaRPr lang="de-DE" dirty="0"/>
        </a:p>
      </dgm:t>
    </dgm:pt>
    <dgm:pt modelId="{FBDAEF86-0C04-4053-82F7-C4897E6EA499}" type="parTrans" cxnId="{39D62366-DEB3-4F64-9FA2-33F924C7B562}">
      <dgm:prSet/>
      <dgm:spPr/>
      <dgm:t>
        <a:bodyPr/>
        <a:lstStyle/>
        <a:p>
          <a:endParaRPr lang="de-DE"/>
        </a:p>
      </dgm:t>
    </dgm:pt>
    <dgm:pt modelId="{46C377C1-9BA9-4D98-909B-0D930028A97E}" type="sibTrans" cxnId="{39D62366-DEB3-4F64-9FA2-33F924C7B562}">
      <dgm:prSet/>
      <dgm:spPr/>
      <dgm:t>
        <a:bodyPr/>
        <a:lstStyle/>
        <a:p>
          <a:endParaRPr lang="de-DE"/>
        </a:p>
      </dgm:t>
    </dgm:pt>
    <dgm:pt modelId="{91B9C067-3312-4549-A78C-033A6E76CE77}" type="pres">
      <dgm:prSet presAssocID="{BC31D21A-5C00-4403-92DD-16CB922A19BF}" presName="Name0" presStyleCnt="0">
        <dgm:presLayoutVars>
          <dgm:dir/>
          <dgm:resizeHandles val="exact"/>
        </dgm:presLayoutVars>
      </dgm:prSet>
      <dgm:spPr/>
    </dgm:pt>
    <dgm:pt modelId="{68A32D8F-1494-432A-A5D9-4D6ADF4FC3CD}" type="pres">
      <dgm:prSet presAssocID="{BC31D21A-5C00-4403-92DD-16CB922A19BF}" presName="cycle" presStyleCnt="0"/>
      <dgm:spPr/>
    </dgm:pt>
    <dgm:pt modelId="{A07ADEBC-66CE-4AF5-BB83-B4F2DF40B956}" type="pres">
      <dgm:prSet presAssocID="{6F964EB0-836E-41AF-AB78-76631D458C61}" presName="nodeFirstNode" presStyleLbl="node1" presStyleIdx="0" presStyleCnt="8">
        <dgm:presLayoutVars>
          <dgm:bulletEnabled val="1"/>
        </dgm:presLayoutVars>
      </dgm:prSet>
      <dgm:spPr/>
    </dgm:pt>
    <dgm:pt modelId="{0C4B68B5-09E5-432A-B5B1-FAE316495A2A}" type="pres">
      <dgm:prSet presAssocID="{B88F3F6D-98B7-4055-AD5A-B5AE037AFD76}" presName="sibTransFirstNode" presStyleLbl="bgShp" presStyleIdx="0" presStyleCnt="1"/>
      <dgm:spPr/>
    </dgm:pt>
    <dgm:pt modelId="{6F317A85-D4EB-4EA4-856D-CA06DF9A7ED0}" type="pres">
      <dgm:prSet presAssocID="{D1EA530D-10B1-45FB-90BF-2152A25DECDE}" presName="nodeFollowingNodes" presStyleLbl="node1" presStyleIdx="1" presStyleCnt="8">
        <dgm:presLayoutVars>
          <dgm:bulletEnabled val="1"/>
        </dgm:presLayoutVars>
      </dgm:prSet>
      <dgm:spPr/>
    </dgm:pt>
    <dgm:pt modelId="{55F6AEBB-8A6C-4DB6-9F17-696A7F498905}" type="pres">
      <dgm:prSet presAssocID="{2831B3F5-A0C5-41C2-A5DC-9F3826FE32F4}" presName="nodeFollowingNodes" presStyleLbl="node1" presStyleIdx="2" presStyleCnt="8">
        <dgm:presLayoutVars>
          <dgm:bulletEnabled val="1"/>
        </dgm:presLayoutVars>
      </dgm:prSet>
      <dgm:spPr/>
    </dgm:pt>
    <dgm:pt modelId="{4E51F3BC-91FC-4473-9668-8AE37299CA48}" type="pres">
      <dgm:prSet presAssocID="{DF0B7880-4CC0-4960-AF7B-D966F328BC1D}" presName="nodeFollowingNodes" presStyleLbl="node1" presStyleIdx="3" presStyleCnt="8">
        <dgm:presLayoutVars>
          <dgm:bulletEnabled val="1"/>
        </dgm:presLayoutVars>
      </dgm:prSet>
      <dgm:spPr/>
    </dgm:pt>
    <dgm:pt modelId="{51D98549-317B-4EDC-A8BC-9705CBBB0C3C}" type="pres">
      <dgm:prSet presAssocID="{0AB1D52B-6030-4B5B-B69C-5E58A4DC7348}" presName="nodeFollowingNodes" presStyleLbl="node1" presStyleIdx="4" presStyleCnt="8">
        <dgm:presLayoutVars>
          <dgm:bulletEnabled val="1"/>
        </dgm:presLayoutVars>
      </dgm:prSet>
      <dgm:spPr/>
    </dgm:pt>
    <dgm:pt modelId="{5F94149B-D88D-4BF7-AFF5-E403D7248665}" type="pres">
      <dgm:prSet presAssocID="{3E1E6218-C962-467E-B31F-2D9157E8606E}" presName="nodeFollowingNodes" presStyleLbl="node1" presStyleIdx="5" presStyleCnt="8">
        <dgm:presLayoutVars>
          <dgm:bulletEnabled val="1"/>
        </dgm:presLayoutVars>
      </dgm:prSet>
      <dgm:spPr/>
    </dgm:pt>
    <dgm:pt modelId="{DB2F9532-83D8-43BE-BDCF-B8192D946937}" type="pres">
      <dgm:prSet presAssocID="{F0018521-C5DC-41E8-BC1A-16ED10E1C370}" presName="nodeFollowingNodes" presStyleLbl="node1" presStyleIdx="6" presStyleCnt="8">
        <dgm:presLayoutVars>
          <dgm:bulletEnabled val="1"/>
        </dgm:presLayoutVars>
      </dgm:prSet>
      <dgm:spPr/>
    </dgm:pt>
    <dgm:pt modelId="{84550CAD-D29B-4632-8AC6-B632D082254D}" type="pres">
      <dgm:prSet presAssocID="{227DFA84-FB57-43B7-914A-BA19CF319F89}" presName="nodeFollowingNodes" presStyleLbl="node1" presStyleIdx="7" presStyleCnt="8">
        <dgm:presLayoutVars>
          <dgm:bulletEnabled val="1"/>
        </dgm:presLayoutVars>
      </dgm:prSet>
      <dgm:spPr/>
    </dgm:pt>
  </dgm:ptLst>
  <dgm:cxnLst>
    <dgm:cxn modelId="{39229007-5872-422C-AD47-B36E48A745D1}" srcId="{BC31D21A-5C00-4403-92DD-16CB922A19BF}" destId="{D1EA530D-10B1-45FB-90BF-2152A25DECDE}" srcOrd="1" destOrd="0" parTransId="{56CAC493-A488-480E-AA54-C0B6260C01D5}" sibTransId="{C89ADFB8-DED6-40B7-B50F-F269C3622BBE}"/>
    <dgm:cxn modelId="{3FF4B609-D58E-422C-906A-60159799870F}" type="presOf" srcId="{F0018521-C5DC-41E8-BC1A-16ED10E1C370}" destId="{DB2F9532-83D8-43BE-BDCF-B8192D946937}" srcOrd="0" destOrd="0" presId="urn:microsoft.com/office/officeart/2005/8/layout/cycle3"/>
    <dgm:cxn modelId="{0F6CCB23-8C87-4AA6-ADFC-D73FD44B6B9F}" srcId="{BC31D21A-5C00-4403-92DD-16CB922A19BF}" destId="{0AB1D52B-6030-4B5B-B69C-5E58A4DC7348}" srcOrd="4" destOrd="0" parTransId="{0433D674-9653-4FC6-9899-3171FEBDB977}" sibTransId="{76937CA2-570C-457A-90DA-581AB5C3FB87}"/>
    <dgm:cxn modelId="{CE61FE2D-D1FD-4B1B-8BF0-CB8FD22A010A}" type="presOf" srcId="{227DFA84-FB57-43B7-914A-BA19CF319F89}" destId="{84550CAD-D29B-4632-8AC6-B632D082254D}" srcOrd="0" destOrd="0" presId="urn:microsoft.com/office/officeart/2005/8/layout/cycle3"/>
    <dgm:cxn modelId="{C4FC0A36-9EAB-4004-846F-FE7E5DBD5F2C}" type="presOf" srcId="{6F964EB0-836E-41AF-AB78-76631D458C61}" destId="{A07ADEBC-66CE-4AF5-BB83-B4F2DF40B956}" srcOrd="0" destOrd="0" presId="urn:microsoft.com/office/officeart/2005/8/layout/cycle3"/>
    <dgm:cxn modelId="{255A9936-7D3A-4DFF-A347-EDD6F48743C1}" type="presOf" srcId="{D1EA530D-10B1-45FB-90BF-2152A25DECDE}" destId="{6F317A85-D4EB-4EA4-856D-CA06DF9A7ED0}" srcOrd="0" destOrd="0" presId="urn:microsoft.com/office/officeart/2005/8/layout/cycle3"/>
    <dgm:cxn modelId="{39D62366-DEB3-4F64-9FA2-33F924C7B562}" srcId="{BC31D21A-5C00-4403-92DD-16CB922A19BF}" destId="{227DFA84-FB57-43B7-914A-BA19CF319F89}" srcOrd="7" destOrd="0" parTransId="{FBDAEF86-0C04-4053-82F7-C4897E6EA499}" sibTransId="{46C377C1-9BA9-4D98-909B-0D930028A97E}"/>
    <dgm:cxn modelId="{DB99776C-1C96-4BC3-B9BB-5A868108957A}" type="presOf" srcId="{BC31D21A-5C00-4403-92DD-16CB922A19BF}" destId="{91B9C067-3312-4549-A78C-033A6E76CE77}" srcOrd="0" destOrd="0" presId="urn:microsoft.com/office/officeart/2005/8/layout/cycle3"/>
    <dgm:cxn modelId="{C6D17E53-8AF7-4D8E-A8E7-14302C233A4E}" srcId="{BC31D21A-5C00-4403-92DD-16CB922A19BF}" destId="{3E1E6218-C962-467E-B31F-2D9157E8606E}" srcOrd="5" destOrd="0" parTransId="{8E857D58-F8C2-47DC-A509-2914804A4653}" sibTransId="{76B34EDB-87F1-49E2-849F-78A8057CC717}"/>
    <dgm:cxn modelId="{4ABC6B55-3ACC-4991-B4A3-6E301A48F1A5}" type="presOf" srcId="{3E1E6218-C962-467E-B31F-2D9157E8606E}" destId="{5F94149B-D88D-4BF7-AFF5-E403D7248665}" srcOrd="0" destOrd="0" presId="urn:microsoft.com/office/officeart/2005/8/layout/cycle3"/>
    <dgm:cxn modelId="{E522915A-9E58-4C37-AEF5-72CD25AC542A}" type="presOf" srcId="{0AB1D52B-6030-4B5B-B69C-5E58A4DC7348}" destId="{51D98549-317B-4EDC-A8BC-9705CBBB0C3C}" srcOrd="0" destOrd="0" presId="urn:microsoft.com/office/officeart/2005/8/layout/cycle3"/>
    <dgm:cxn modelId="{73869F85-749D-41D4-8DCA-88EA84306F8B}" srcId="{BC31D21A-5C00-4403-92DD-16CB922A19BF}" destId="{F0018521-C5DC-41E8-BC1A-16ED10E1C370}" srcOrd="6" destOrd="0" parTransId="{7D0C7868-DF71-4700-A78B-1845E21D6843}" sibTransId="{F0FAE120-F422-4F58-9272-3A072724C3A2}"/>
    <dgm:cxn modelId="{69258486-FC19-4FC6-AB80-9B8758DDC324}" srcId="{BC31D21A-5C00-4403-92DD-16CB922A19BF}" destId="{6F964EB0-836E-41AF-AB78-76631D458C61}" srcOrd="0" destOrd="0" parTransId="{C68ECE6E-4872-4961-B073-B1751BBD344D}" sibTransId="{B88F3F6D-98B7-4055-AD5A-B5AE037AFD76}"/>
    <dgm:cxn modelId="{DDAB188F-F775-48F1-84EB-E932DB06E577}" srcId="{BC31D21A-5C00-4403-92DD-16CB922A19BF}" destId="{DF0B7880-4CC0-4960-AF7B-D966F328BC1D}" srcOrd="3" destOrd="0" parTransId="{15FBDDCE-335A-4E26-811E-E02C89762015}" sibTransId="{0736BBB5-9F4B-4CEF-8ABA-4B7E4ED45FDC}"/>
    <dgm:cxn modelId="{D16777BF-C94B-4BCD-B441-B215C9C16534}" type="presOf" srcId="{DF0B7880-4CC0-4960-AF7B-D966F328BC1D}" destId="{4E51F3BC-91FC-4473-9668-8AE37299CA48}" srcOrd="0" destOrd="0" presId="urn:microsoft.com/office/officeart/2005/8/layout/cycle3"/>
    <dgm:cxn modelId="{D6B516D5-A421-4045-92ED-DBA798D2E2D3}" type="presOf" srcId="{2831B3F5-A0C5-41C2-A5DC-9F3826FE32F4}" destId="{55F6AEBB-8A6C-4DB6-9F17-696A7F498905}" srcOrd="0" destOrd="0" presId="urn:microsoft.com/office/officeart/2005/8/layout/cycle3"/>
    <dgm:cxn modelId="{63D364DA-42C2-4CAE-A507-CE91B423A804}" type="presOf" srcId="{B88F3F6D-98B7-4055-AD5A-B5AE037AFD76}" destId="{0C4B68B5-09E5-432A-B5B1-FAE316495A2A}" srcOrd="0" destOrd="0" presId="urn:microsoft.com/office/officeart/2005/8/layout/cycle3"/>
    <dgm:cxn modelId="{AE17EBDA-36DC-48A9-95EF-734349CD1DEA}" srcId="{BC31D21A-5C00-4403-92DD-16CB922A19BF}" destId="{2831B3F5-A0C5-41C2-A5DC-9F3826FE32F4}" srcOrd="2" destOrd="0" parTransId="{415B6530-F482-4BF3-8077-64AD55A262E6}" sibTransId="{AE2DD2DA-E2B3-464E-8CB2-E7574721EEB6}"/>
    <dgm:cxn modelId="{C15D0C58-AD7C-414A-B873-2EE232CB6E5F}" type="presParOf" srcId="{91B9C067-3312-4549-A78C-033A6E76CE77}" destId="{68A32D8F-1494-432A-A5D9-4D6ADF4FC3CD}" srcOrd="0" destOrd="0" presId="urn:microsoft.com/office/officeart/2005/8/layout/cycle3"/>
    <dgm:cxn modelId="{3FAA5AA2-3BA2-427A-B5D9-AB442672DA37}" type="presParOf" srcId="{68A32D8F-1494-432A-A5D9-4D6ADF4FC3CD}" destId="{A07ADEBC-66CE-4AF5-BB83-B4F2DF40B956}" srcOrd="0" destOrd="0" presId="urn:microsoft.com/office/officeart/2005/8/layout/cycle3"/>
    <dgm:cxn modelId="{ECA7BABC-003B-43E6-823E-9E5694B5C0B4}" type="presParOf" srcId="{68A32D8F-1494-432A-A5D9-4D6ADF4FC3CD}" destId="{0C4B68B5-09E5-432A-B5B1-FAE316495A2A}" srcOrd="1" destOrd="0" presId="urn:microsoft.com/office/officeart/2005/8/layout/cycle3"/>
    <dgm:cxn modelId="{A7C734D1-8EFB-4CC6-A166-FA094B575E48}" type="presParOf" srcId="{68A32D8F-1494-432A-A5D9-4D6ADF4FC3CD}" destId="{6F317A85-D4EB-4EA4-856D-CA06DF9A7ED0}" srcOrd="2" destOrd="0" presId="urn:microsoft.com/office/officeart/2005/8/layout/cycle3"/>
    <dgm:cxn modelId="{CA738C15-486C-461D-9309-F08534CBF5AA}" type="presParOf" srcId="{68A32D8F-1494-432A-A5D9-4D6ADF4FC3CD}" destId="{55F6AEBB-8A6C-4DB6-9F17-696A7F498905}" srcOrd="3" destOrd="0" presId="urn:microsoft.com/office/officeart/2005/8/layout/cycle3"/>
    <dgm:cxn modelId="{54BFE817-B9AB-492E-A0F7-428482D38BEC}" type="presParOf" srcId="{68A32D8F-1494-432A-A5D9-4D6ADF4FC3CD}" destId="{4E51F3BC-91FC-4473-9668-8AE37299CA48}" srcOrd="4" destOrd="0" presId="urn:microsoft.com/office/officeart/2005/8/layout/cycle3"/>
    <dgm:cxn modelId="{BDBD6B68-F94A-42DC-BE09-43DC7E6A0220}" type="presParOf" srcId="{68A32D8F-1494-432A-A5D9-4D6ADF4FC3CD}" destId="{51D98549-317B-4EDC-A8BC-9705CBBB0C3C}" srcOrd="5" destOrd="0" presId="urn:microsoft.com/office/officeart/2005/8/layout/cycle3"/>
    <dgm:cxn modelId="{0554FA0A-AC8E-4739-938C-A668EA0C8922}" type="presParOf" srcId="{68A32D8F-1494-432A-A5D9-4D6ADF4FC3CD}" destId="{5F94149B-D88D-4BF7-AFF5-E403D7248665}" srcOrd="6" destOrd="0" presId="urn:microsoft.com/office/officeart/2005/8/layout/cycle3"/>
    <dgm:cxn modelId="{5E47F0FC-DCF0-47D8-8B36-2B5260E8860A}" type="presParOf" srcId="{68A32D8F-1494-432A-A5D9-4D6ADF4FC3CD}" destId="{DB2F9532-83D8-43BE-BDCF-B8192D946937}" srcOrd="7" destOrd="0" presId="urn:microsoft.com/office/officeart/2005/8/layout/cycle3"/>
    <dgm:cxn modelId="{28AA2C4A-3600-4C6B-B42F-A8E8FE531FCD}" type="presParOf" srcId="{68A32D8F-1494-432A-A5D9-4D6ADF4FC3CD}" destId="{84550CAD-D29B-4632-8AC6-B632D082254D}" srcOrd="8"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09967F3-6B3D-4C0F-9064-6FCD67A4BE68}" type="doc">
      <dgm:prSet loTypeId="urn:microsoft.com/office/officeart/2005/8/layout/cycle4" loCatId="cycle" qsTypeId="urn:microsoft.com/office/officeart/2005/8/quickstyle/simple1" qsCatId="simple" csTypeId="urn:microsoft.com/office/officeart/2005/8/colors/colorful5" csCatId="colorful" phldr="1"/>
      <dgm:spPr/>
      <dgm:t>
        <a:bodyPr/>
        <a:lstStyle/>
        <a:p>
          <a:endParaRPr lang="de-DE"/>
        </a:p>
      </dgm:t>
    </dgm:pt>
    <dgm:pt modelId="{C6296217-869E-4374-9F6E-DB665B21B951}">
      <dgm:prSet phldrT="[Text]"/>
      <dgm:spPr/>
      <dgm:t>
        <a:bodyPr/>
        <a:lstStyle/>
        <a:p>
          <a:r>
            <a:rPr lang="pl-PL" dirty="0"/>
            <a:t>Owned by a single organization</a:t>
          </a:r>
          <a:endParaRPr lang="de-DE" dirty="0"/>
        </a:p>
      </dgm:t>
    </dgm:pt>
    <dgm:pt modelId="{569285F9-33EB-4A83-B4F8-C9D898E92EFF}" type="parTrans" cxnId="{F6CAD9BA-7438-4FC2-A9DD-5D8DB70C0D6A}">
      <dgm:prSet/>
      <dgm:spPr/>
      <dgm:t>
        <a:bodyPr/>
        <a:lstStyle/>
        <a:p>
          <a:endParaRPr lang="de-DE"/>
        </a:p>
      </dgm:t>
    </dgm:pt>
    <dgm:pt modelId="{6E7342A2-C253-41D8-AFAC-9432D223C9B2}" type="sibTrans" cxnId="{F6CAD9BA-7438-4FC2-A9DD-5D8DB70C0D6A}">
      <dgm:prSet/>
      <dgm:spPr/>
      <dgm:t>
        <a:bodyPr/>
        <a:lstStyle/>
        <a:p>
          <a:endParaRPr lang="de-DE"/>
        </a:p>
      </dgm:t>
    </dgm:pt>
    <dgm:pt modelId="{335380E9-D132-4B89-B5B3-5487C8216A16}">
      <dgm:prSet phldrT="[Text]"/>
      <dgm:spPr/>
      <dgm:t>
        <a:bodyPr/>
        <a:lstStyle/>
        <a:p>
          <a:r>
            <a:rPr lang="pl-PL" dirty="0"/>
            <a:t>Private Cloud</a:t>
          </a:r>
          <a:endParaRPr lang="de-DE" dirty="0"/>
        </a:p>
      </dgm:t>
    </dgm:pt>
    <dgm:pt modelId="{ECF58051-FFF6-4FD6-9154-AF6843A04C84}" type="parTrans" cxnId="{FD447F49-99F1-4CDA-9265-5769810AD020}">
      <dgm:prSet/>
      <dgm:spPr/>
      <dgm:t>
        <a:bodyPr/>
        <a:lstStyle/>
        <a:p>
          <a:endParaRPr lang="de-DE"/>
        </a:p>
      </dgm:t>
    </dgm:pt>
    <dgm:pt modelId="{D54FBD61-A1DC-4FC3-A13D-BFFBB380D9A6}" type="sibTrans" cxnId="{FD447F49-99F1-4CDA-9265-5769810AD020}">
      <dgm:prSet/>
      <dgm:spPr/>
      <dgm:t>
        <a:bodyPr/>
        <a:lstStyle/>
        <a:p>
          <a:endParaRPr lang="de-DE"/>
        </a:p>
      </dgm:t>
    </dgm:pt>
    <dgm:pt modelId="{F68A5415-E182-483A-91AA-7746477984EF}">
      <dgm:prSet phldrT="[Text]"/>
      <dgm:spPr/>
      <dgm:t>
        <a:bodyPr/>
        <a:lstStyle/>
        <a:p>
          <a:r>
            <a:rPr lang="pl-PL" dirty="0"/>
            <a:t>Shared by serveral organizations</a:t>
          </a:r>
          <a:endParaRPr lang="de-DE" dirty="0"/>
        </a:p>
      </dgm:t>
    </dgm:pt>
    <dgm:pt modelId="{9E65AB1A-D271-4BA9-804D-BF942C588B83}" type="parTrans" cxnId="{BE96EAEB-2A45-4851-A54A-4304AA2A6EB0}">
      <dgm:prSet/>
      <dgm:spPr/>
      <dgm:t>
        <a:bodyPr/>
        <a:lstStyle/>
        <a:p>
          <a:endParaRPr lang="de-DE"/>
        </a:p>
      </dgm:t>
    </dgm:pt>
    <dgm:pt modelId="{9F15CB10-4D1B-40FC-9680-9FE8191FD6D8}" type="sibTrans" cxnId="{BE96EAEB-2A45-4851-A54A-4304AA2A6EB0}">
      <dgm:prSet/>
      <dgm:spPr/>
      <dgm:t>
        <a:bodyPr/>
        <a:lstStyle/>
        <a:p>
          <a:endParaRPr lang="de-DE"/>
        </a:p>
      </dgm:t>
    </dgm:pt>
    <dgm:pt modelId="{8B0AC7AD-52C1-4D58-9736-BBD87C794E5F}">
      <dgm:prSet phldrT="[Text]"/>
      <dgm:spPr/>
      <dgm:t>
        <a:bodyPr/>
        <a:lstStyle/>
        <a:p>
          <a:r>
            <a:rPr lang="pl-PL" dirty="0"/>
            <a:t>Community Cloud</a:t>
          </a:r>
          <a:endParaRPr lang="de-DE" dirty="0"/>
        </a:p>
      </dgm:t>
    </dgm:pt>
    <dgm:pt modelId="{8AA84378-76FE-4D0B-8C2B-EA30293C9E50}" type="parTrans" cxnId="{29E3CC7C-AA78-4549-9267-1ECA81342232}">
      <dgm:prSet/>
      <dgm:spPr/>
      <dgm:t>
        <a:bodyPr/>
        <a:lstStyle/>
        <a:p>
          <a:endParaRPr lang="de-DE"/>
        </a:p>
      </dgm:t>
    </dgm:pt>
    <dgm:pt modelId="{0C8642DA-DC93-438F-B4DE-AA7011699AE3}" type="sibTrans" cxnId="{29E3CC7C-AA78-4549-9267-1ECA81342232}">
      <dgm:prSet/>
      <dgm:spPr/>
      <dgm:t>
        <a:bodyPr/>
        <a:lstStyle/>
        <a:p>
          <a:endParaRPr lang="de-DE"/>
        </a:p>
      </dgm:t>
    </dgm:pt>
    <dgm:pt modelId="{B277486A-FB6D-4772-83F9-69CB531BBD56}">
      <dgm:prSet phldrT="[Text]"/>
      <dgm:spPr/>
      <dgm:t>
        <a:bodyPr/>
        <a:lstStyle/>
        <a:p>
          <a:r>
            <a:rPr lang="pl-PL" dirty="0"/>
            <a:t>Used by one organization which sells cloud services</a:t>
          </a:r>
          <a:endParaRPr lang="de-DE" dirty="0"/>
        </a:p>
      </dgm:t>
    </dgm:pt>
    <dgm:pt modelId="{2E7143C9-13EB-4B44-A010-7DC745D341B7}" type="parTrans" cxnId="{C621978C-8476-4186-8006-C03A8ECC16BB}">
      <dgm:prSet/>
      <dgm:spPr/>
      <dgm:t>
        <a:bodyPr/>
        <a:lstStyle/>
        <a:p>
          <a:endParaRPr lang="de-DE"/>
        </a:p>
      </dgm:t>
    </dgm:pt>
    <dgm:pt modelId="{14BA42BA-0C22-426A-AC65-93DC4DA904C7}" type="sibTrans" cxnId="{C621978C-8476-4186-8006-C03A8ECC16BB}">
      <dgm:prSet/>
      <dgm:spPr/>
      <dgm:t>
        <a:bodyPr/>
        <a:lstStyle/>
        <a:p>
          <a:endParaRPr lang="de-DE"/>
        </a:p>
      </dgm:t>
    </dgm:pt>
    <dgm:pt modelId="{19077130-0618-4B35-95F8-F62CB91EA4B5}">
      <dgm:prSet phldrT="[Text]"/>
      <dgm:spPr/>
      <dgm:t>
        <a:bodyPr/>
        <a:lstStyle/>
        <a:p>
          <a:r>
            <a:rPr lang="pl-PL" dirty="0"/>
            <a:t>Public Cloud</a:t>
          </a:r>
          <a:endParaRPr lang="de-DE" dirty="0"/>
        </a:p>
      </dgm:t>
    </dgm:pt>
    <dgm:pt modelId="{7EB988B5-F8DC-4EB6-A4EE-2837A4DC02B6}" type="parTrans" cxnId="{DC24625D-F642-4DB4-811D-533BE002CD94}">
      <dgm:prSet/>
      <dgm:spPr/>
      <dgm:t>
        <a:bodyPr/>
        <a:lstStyle/>
        <a:p>
          <a:endParaRPr lang="de-DE"/>
        </a:p>
      </dgm:t>
    </dgm:pt>
    <dgm:pt modelId="{816A247A-6ECD-41D3-ABAD-AA7BB9EF6BCB}" type="sibTrans" cxnId="{DC24625D-F642-4DB4-811D-533BE002CD94}">
      <dgm:prSet/>
      <dgm:spPr/>
      <dgm:t>
        <a:bodyPr/>
        <a:lstStyle/>
        <a:p>
          <a:endParaRPr lang="de-DE"/>
        </a:p>
      </dgm:t>
    </dgm:pt>
    <dgm:pt modelId="{EF746F52-C3E2-49BB-9ECF-C75A8D1415F3}">
      <dgm:prSet phldrT="[Text]"/>
      <dgm:spPr/>
      <dgm:t>
        <a:bodyPr/>
        <a:lstStyle/>
        <a:p>
          <a:r>
            <a:rPr lang="pl-PL" dirty="0"/>
            <a:t>Composition of the clouds</a:t>
          </a:r>
          <a:endParaRPr lang="de-DE" dirty="0"/>
        </a:p>
      </dgm:t>
    </dgm:pt>
    <dgm:pt modelId="{652205E7-F31A-4B08-A4DF-F575D6164579}" type="parTrans" cxnId="{E88021E9-456F-4D1F-B1BA-53FD1D22555F}">
      <dgm:prSet/>
      <dgm:spPr/>
      <dgm:t>
        <a:bodyPr/>
        <a:lstStyle/>
        <a:p>
          <a:endParaRPr lang="de-DE"/>
        </a:p>
      </dgm:t>
    </dgm:pt>
    <dgm:pt modelId="{D3E87D92-F60C-4FA9-9AF8-F8A844E74534}" type="sibTrans" cxnId="{E88021E9-456F-4D1F-B1BA-53FD1D22555F}">
      <dgm:prSet/>
      <dgm:spPr/>
      <dgm:t>
        <a:bodyPr/>
        <a:lstStyle/>
        <a:p>
          <a:endParaRPr lang="de-DE"/>
        </a:p>
      </dgm:t>
    </dgm:pt>
    <dgm:pt modelId="{E823A084-0FF9-4544-89EA-01FB0E539377}">
      <dgm:prSet phldrT="[Text]"/>
      <dgm:spPr/>
      <dgm:t>
        <a:bodyPr/>
        <a:lstStyle/>
        <a:p>
          <a:r>
            <a:rPr lang="pl-PL" dirty="0"/>
            <a:t>Hybrid Cloud</a:t>
          </a:r>
          <a:endParaRPr lang="de-DE" dirty="0"/>
        </a:p>
      </dgm:t>
    </dgm:pt>
    <dgm:pt modelId="{D06048E9-444F-41C1-B2B5-85266FBAED98}" type="parTrans" cxnId="{9AFE8326-B2AA-482B-B23F-55A9BF3E636B}">
      <dgm:prSet/>
      <dgm:spPr/>
      <dgm:t>
        <a:bodyPr/>
        <a:lstStyle/>
        <a:p>
          <a:endParaRPr lang="de-DE"/>
        </a:p>
      </dgm:t>
    </dgm:pt>
    <dgm:pt modelId="{98C23966-02A5-444C-B8BD-06B9CFF07804}" type="sibTrans" cxnId="{9AFE8326-B2AA-482B-B23F-55A9BF3E636B}">
      <dgm:prSet/>
      <dgm:spPr/>
      <dgm:t>
        <a:bodyPr/>
        <a:lstStyle/>
        <a:p>
          <a:endParaRPr lang="de-DE"/>
        </a:p>
      </dgm:t>
    </dgm:pt>
    <dgm:pt modelId="{F2DDFD1B-F68A-40E0-88E0-E976FACD98A1}" type="pres">
      <dgm:prSet presAssocID="{C09967F3-6B3D-4C0F-9064-6FCD67A4BE68}" presName="cycleMatrixDiagram" presStyleCnt="0">
        <dgm:presLayoutVars>
          <dgm:chMax val="1"/>
          <dgm:dir/>
          <dgm:animLvl val="lvl"/>
          <dgm:resizeHandles val="exact"/>
        </dgm:presLayoutVars>
      </dgm:prSet>
      <dgm:spPr/>
    </dgm:pt>
    <dgm:pt modelId="{8CB4F6CD-7E08-41FA-B398-1447F8A99DD6}" type="pres">
      <dgm:prSet presAssocID="{C09967F3-6B3D-4C0F-9064-6FCD67A4BE68}" presName="children" presStyleCnt="0"/>
      <dgm:spPr/>
    </dgm:pt>
    <dgm:pt modelId="{0EDEA0D6-29BE-42DD-A439-86E6D7F6234F}" type="pres">
      <dgm:prSet presAssocID="{C09967F3-6B3D-4C0F-9064-6FCD67A4BE68}" presName="child1group" presStyleCnt="0"/>
      <dgm:spPr/>
    </dgm:pt>
    <dgm:pt modelId="{5CDD9EEF-015E-46C3-869C-146E29BF7D4C}" type="pres">
      <dgm:prSet presAssocID="{C09967F3-6B3D-4C0F-9064-6FCD67A4BE68}" presName="child1" presStyleLbl="bgAcc1" presStyleIdx="0" presStyleCnt="4"/>
      <dgm:spPr/>
    </dgm:pt>
    <dgm:pt modelId="{DCEAEC6A-8A6A-4F79-A1DE-014D97E6640E}" type="pres">
      <dgm:prSet presAssocID="{C09967F3-6B3D-4C0F-9064-6FCD67A4BE68}" presName="child1Text" presStyleLbl="bgAcc1" presStyleIdx="0" presStyleCnt="4">
        <dgm:presLayoutVars>
          <dgm:bulletEnabled val="1"/>
        </dgm:presLayoutVars>
      </dgm:prSet>
      <dgm:spPr/>
    </dgm:pt>
    <dgm:pt modelId="{972AAFD3-AFFD-4B4D-97DE-3B16A52C5281}" type="pres">
      <dgm:prSet presAssocID="{C09967F3-6B3D-4C0F-9064-6FCD67A4BE68}" presName="child2group" presStyleCnt="0"/>
      <dgm:spPr/>
    </dgm:pt>
    <dgm:pt modelId="{C82DDF52-8735-439A-AE5A-746CB5BF674A}" type="pres">
      <dgm:prSet presAssocID="{C09967F3-6B3D-4C0F-9064-6FCD67A4BE68}" presName="child2" presStyleLbl="bgAcc1" presStyleIdx="1" presStyleCnt="4"/>
      <dgm:spPr/>
    </dgm:pt>
    <dgm:pt modelId="{6FDE359F-A030-4139-AEA1-63BE377BDEDE}" type="pres">
      <dgm:prSet presAssocID="{C09967F3-6B3D-4C0F-9064-6FCD67A4BE68}" presName="child2Text" presStyleLbl="bgAcc1" presStyleIdx="1" presStyleCnt="4">
        <dgm:presLayoutVars>
          <dgm:bulletEnabled val="1"/>
        </dgm:presLayoutVars>
      </dgm:prSet>
      <dgm:spPr/>
    </dgm:pt>
    <dgm:pt modelId="{9FFE6791-6642-4FD9-A701-141B2EEA2F27}" type="pres">
      <dgm:prSet presAssocID="{C09967F3-6B3D-4C0F-9064-6FCD67A4BE68}" presName="child3group" presStyleCnt="0"/>
      <dgm:spPr/>
    </dgm:pt>
    <dgm:pt modelId="{D7B05E90-DE7F-46DA-8B3F-25B94DC2202B}" type="pres">
      <dgm:prSet presAssocID="{C09967F3-6B3D-4C0F-9064-6FCD67A4BE68}" presName="child3" presStyleLbl="bgAcc1" presStyleIdx="2" presStyleCnt="4"/>
      <dgm:spPr/>
    </dgm:pt>
    <dgm:pt modelId="{F832F0A1-0311-451F-92FE-C4D84985C710}" type="pres">
      <dgm:prSet presAssocID="{C09967F3-6B3D-4C0F-9064-6FCD67A4BE68}" presName="child3Text" presStyleLbl="bgAcc1" presStyleIdx="2" presStyleCnt="4">
        <dgm:presLayoutVars>
          <dgm:bulletEnabled val="1"/>
        </dgm:presLayoutVars>
      </dgm:prSet>
      <dgm:spPr/>
    </dgm:pt>
    <dgm:pt modelId="{AA78C449-78FD-4C94-BD83-4816A52F34CF}" type="pres">
      <dgm:prSet presAssocID="{C09967F3-6B3D-4C0F-9064-6FCD67A4BE68}" presName="child4group" presStyleCnt="0"/>
      <dgm:spPr/>
    </dgm:pt>
    <dgm:pt modelId="{B2A88913-9DE3-43FE-89C9-C2C082B912C2}" type="pres">
      <dgm:prSet presAssocID="{C09967F3-6B3D-4C0F-9064-6FCD67A4BE68}" presName="child4" presStyleLbl="bgAcc1" presStyleIdx="3" presStyleCnt="4"/>
      <dgm:spPr/>
    </dgm:pt>
    <dgm:pt modelId="{35021503-471F-4943-B754-D2A3B68249FA}" type="pres">
      <dgm:prSet presAssocID="{C09967F3-6B3D-4C0F-9064-6FCD67A4BE68}" presName="child4Text" presStyleLbl="bgAcc1" presStyleIdx="3" presStyleCnt="4">
        <dgm:presLayoutVars>
          <dgm:bulletEnabled val="1"/>
        </dgm:presLayoutVars>
      </dgm:prSet>
      <dgm:spPr/>
    </dgm:pt>
    <dgm:pt modelId="{0B0616B8-DEB7-40C8-925B-15A868C9A38C}" type="pres">
      <dgm:prSet presAssocID="{C09967F3-6B3D-4C0F-9064-6FCD67A4BE68}" presName="childPlaceholder" presStyleCnt="0"/>
      <dgm:spPr/>
    </dgm:pt>
    <dgm:pt modelId="{1C5E8A29-7BD0-4869-BD5C-E8AFF92D0E53}" type="pres">
      <dgm:prSet presAssocID="{C09967F3-6B3D-4C0F-9064-6FCD67A4BE68}" presName="circle" presStyleCnt="0"/>
      <dgm:spPr/>
    </dgm:pt>
    <dgm:pt modelId="{28E83C51-1C03-472F-92A0-83BB4C0A4AEC}" type="pres">
      <dgm:prSet presAssocID="{C09967F3-6B3D-4C0F-9064-6FCD67A4BE68}" presName="quadrant1" presStyleLbl="node1" presStyleIdx="0" presStyleCnt="4">
        <dgm:presLayoutVars>
          <dgm:chMax val="1"/>
          <dgm:bulletEnabled val="1"/>
        </dgm:presLayoutVars>
      </dgm:prSet>
      <dgm:spPr/>
    </dgm:pt>
    <dgm:pt modelId="{C15E6C0D-CAA7-4F8E-AF45-EEF49FEFBCD4}" type="pres">
      <dgm:prSet presAssocID="{C09967F3-6B3D-4C0F-9064-6FCD67A4BE68}" presName="quadrant2" presStyleLbl="node1" presStyleIdx="1" presStyleCnt="4">
        <dgm:presLayoutVars>
          <dgm:chMax val="1"/>
          <dgm:bulletEnabled val="1"/>
        </dgm:presLayoutVars>
      </dgm:prSet>
      <dgm:spPr/>
    </dgm:pt>
    <dgm:pt modelId="{84DC1035-9A9F-4D90-B412-B22A975AF237}" type="pres">
      <dgm:prSet presAssocID="{C09967F3-6B3D-4C0F-9064-6FCD67A4BE68}" presName="quadrant3" presStyleLbl="node1" presStyleIdx="2" presStyleCnt="4">
        <dgm:presLayoutVars>
          <dgm:chMax val="1"/>
          <dgm:bulletEnabled val="1"/>
        </dgm:presLayoutVars>
      </dgm:prSet>
      <dgm:spPr/>
    </dgm:pt>
    <dgm:pt modelId="{650B420D-9A8D-4056-8F21-3E7450B9E01E}" type="pres">
      <dgm:prSet presAssocID="{C09967F3-6B3D-4C0F-9064-6FCD67A4BE68}" presName="quadrant4" presStyleLbl="node1" presStyleIdx="3" presStyleCnt="4">
        <dgm:presLayoutVars>
          <dgm:chMax val="1"/>
          <dgm:bulletEnabled val="1"/>
        </dgm:presLayoutVars>
      </dgm:prSet>
      <dgm:spPr/>
    </dgm:pt>
    <dgm:pt modelId="{6B8017B2-6D5C-4356-B919-1ADD4C5830ED}" type="pres">
      <dgm:prSet presAssocID="{C09967F3-6B3D-4C0F-9064-6FCD67A4BE68}" presName="quadrantPlaceholder" presStyleCnt="0"/>
      <dgm:spPr/>
    </dgm:pt>
    <dgm:pt modelId="{4BB50CDF-C10A-470F-ACCF-F734BD4D9585}" type="pres">
      <dgm:prSet presAssocID="{C09967F3-6B3D-4C0F-9064-6FCD67A4BE68}" presName="center1" presStyleLbl="fgShp" presStyleIdx="0" presStyleCnt="2"/>
      <dgm:spPr/>
    </dgm:pt>
    <dgm:pt modelId="{803B5FAA-B94C-453E-9B01-0C19AEA05ADA}" type="pres">
      <dgm:prSet presAssocID="{C09967F3-6B3D-4C0F-9064-6FCD67A4BE68}" presName="center2" presStyleLbl="fgShp" presStyleIdx="1" presStyleCnt="2"/>
      <dgm:spPr/>
    </dgm:pt>
  </dgm:ptLst>
  <dgm:cxnLst>
    <dgm:cxn modelId="{C6E4D60B-491E-4ED8-BF58-FD75228CF186}" type="presOf" srcId="{E823A084-0FF9-4544-89EA-01FB0E539377}" destId="{B2A88913-9DE3-43FE-89C9-C2C082B912C2}" srcOrd="0" destOrd="0" presId="urn:microsoft.com/office/officeart/2005/8/layout/cycle4"/>
    <dgm:cxn modelId="{9AFE8326-B2AA-482B-B23F-55A9BF3E636B}" srcId="{EF746F52-C3E2-49BB-9ECF-C75A8D1415F3}" destId="{E823A084-0FF9-4544-89EA-01FB0E539377}" srcOrd="0" destOrd="0" parTransId="{D06048E9-444F-41C1-B2B5-85266FBAED98}" sibTransId="{98C23966-02A5-444C-B8BD-06B9CFF07804}"/>
    <dgm:cxn modelId="{80ECD836-3B93-4F23-BE88-8983D34035DF}" type="presOf" srcId="{8B0AC7AD-52C1-4D58-9736-BBD87C794E5F}" destId="{6FDE359F-A030-4139-AEA1-63BE377BDEDE}" srcOrd="1" destOrd="0" presId="urn:microsoft.com/office/officeart/2005/8/layout/cycle4"/>
    <dgm:cxn modelId="{DE68E938-CD4A-46A0-A831-279B809DC69A}" type="presOf" srcId="{8B0AC7AD-52C1-4D58-9736-BBD87C794E5F}" destId="{C82DDF52-8735-439A-AE5A-746CB5BF674A}" srcOrd="0" destOrd="0" presId="urn:microsoft.com/office/officeart/2005/8/layout/cycle4"/>
    <dgm:cxn modelId="{DC24625D-F642-4DB4-811D-533BE002CD94}" srcId="{B277486A-FB6D-4772-83F9-69CB531BBD56}" destId="{19077130-0618-4B35-95F8-F62CB91EA4B5}" srcOrd="0" destOrd="0" parTransId="{7EB988B5-F8DC-4EB6-A4EE-2837A4DC02B6}" sibTransId="{816A247A-6ECD-41D3-ABAD-AA7BB9EF6BCB}"/>
    <dgm:cxn modelId="{50553264-E7DE-4ECA-91C8-3D9514105A71}" type="presOf" srcId="{335380E9-D132-4B89-B5B3-5487C8216A16}" destId="{DCEAEC6A-8A6A-4F79-A1DE-014D97E6640E}" srcOrd="1" destOrd="0" presId="urn:microsoft.com/office/officeart/2005/8/layout/cycle4"/>
    <dgm:cxn modelId="{4F02AA48-392F-4EB6-AE2A-157E8F44FA84}" type="presOf" srcId="{EF746F52-C3E2-49BB-9ECF-C75A8D1415F3}" destId="{650B420D-9A8D-4056-8F21-3E7450B9E01E}" srcOrd="0" destOrd="0" presId="urn:microsoft.com/office/officeart/2005/8/layout/cycle4"/>
    <dgm:cxn modelId="{FD447F49-99F1-4CDA-9265-5769810AD020}" srcId="{C6296217-869E-4374-9F6E-DB665B21B951}" destId="{335380E9-D132-4B89-B5B3-5487C8216A16}" srcOrd="0" destOrd="0" parTransId="{ECF58051-FFF6-4FD6-9154-AF6843A04C84}" sibTransId="{D54FBD61-A1DC-4FC3-A13D-BFFBB380D9A6}"/>
    <dgm:cxn modelId="{6CDC236A-A935-459D-B84A-4CE3A921D890}" type="presOf" srcId="{335380E9-D132-4B89-B5B3-5487C8216A16}" destId="{5CDD9EEF-015E-46C3-869C-146E29BF7D4C}" srcOrd="0" destOrd="0" presId="urn:microsoft.com/office/officeart/2005/8/layout/cycle4"/>
    <dgm:cxn modelId="{E1657355-D416-44F3-83BD-8D8283818842}" type="presOf" srcId="{E823A084-0FF9-4544-89EA-01FB0E539377}" destId="{35021503-471F-4943-B754-D2A3B68249FA}" srcOrd="1" destOrd="0" presId="urn:microsoft.com/office/officeart/2005/8/layout/cycle4"/>
    <dgm:cxn modelId="{29E3CC7C-AA78-4549-9267-1ECA81342232}" srcId="{F68A5415-E182-483A-91AA-7746477984EF}" destId="{8B0AC7AD-52C1-4D58-9736-BBD87C794E5F}" srcOrd="0" destOrd="0" parTransId="{8AA84378-76FE-4D0B-8C2B-EA30293C9E50}" sibTransId="{0C8642DA-DC93-438F-B4DE-AA7011699AE3}"/>
    <dgm:cxn modelId="{30591484-5B4D-4722-96B2-4FA45B31AB0B}" type="presOf" srcId="{C09967F3-6B3D-4C0F-9064-6FCD67A4BE68}" destId="{F2DDFD1B-F68A-40E0-88E0-E976FACD98A1}" srcOrd="0" destOrd="0" presId="urn:microsoft.com/office/officeart/2005/8/layout/cycle4"/>
    <dgm:cxn modelId="{C621978C-8476-4186-8006-C03A8ECC16BB}" srcId="{C09967F3-6B3D-4C0F-9064-6FCD67A4BE68}" destId="{B277486A-FB6D-4772-83F9-69CB531BBD56}" srcOrd="2" destOrd="0" parTransId="{2E7143C9-13EB-4B44-A010-7DC745D341B7}" sibTransId="{14BA42BA-0C22-426A-AC65-93DC4DA904C7}"/>
    <dgm:cxn modelId="{75A5E997-29B1-4469-96A0-D50F7DF653E8}" type="presOf" srcId="{19077130-0618-4B35-95F8-F62CB91EA4B5}" destId="{F832F0A1-0311-451F-92FE-C4D84985C710}" srcOrd="1" destOrd="0" presId="urn:microsoft.com/office/officeart/2005/8/layout/cycle4"/>
    <dgm:cxn modelId="{8C71509F-D830-4429-8BEA-97350066BC4D}" type="presOf" srcId="{19077130-0618-4B35-95F8-F62CB91EA4B5}" destId="{D7B05E90-DE7F-46DA-8B3F-25B94DC2202B}" srcOrd="0" destOrd="0" presId="urn:microsoft.com/office/officeart/2005/8/layout/cycle4"/>
    <dgm:cxn modelId="{F6CAD9BA-7438-4FC2-A9DD-5D8DB70C0D6A}" srcId="{C09967F3-6B3D-4C0F-9064-6FCD67A4BE68}" destId="{C6296217-869E-4374-9F6E-DB665B21B951}" srcOrd="0" destOrd="0" parTransId="{569285F9-33EB-4A83-B4F8-C9D898E92EFF}" sibTransId="{6E7342A2-C253-41D8-AFAC-9432D223C9B2}"/>
    <dgm:cxn modelId="{CDE124D1-1F52-4D06-84CE-BB7CD0AA3737}" type="presOf" srcId="{B277486A-FB6D-4772-83F9-69CB531BBD56}" destId="{84DC1035-9A9F-4D90-B412-B22A975AF237}" srcOrd="0" destOrd="0" presId="urn:microsoft.com/office/officeart/2005/8/layout/cycle4"/>
    <dgm:cxn modelId="{E88021E9-456F-4D1F-B1BA-53FD1D22555F}" srcId="{C09967F3-6B3D-4C0F-9064-6FCD67A4BE68}" destId="{EF746F52-C3E2-49BB-9ECF-C75A8D1415F3}" srcOrd="3" destOrd="0" parTransId="{652205E7-F31A-4B08-A4DF-F575D6164579}" sibTransId="{D3E87D92-F60C-4FA9-9AF8-F8A844E74534}"/>
    <dgm:cxn modelId="{BE96EAEB-2A45-4851-A54A-4304AA2A6EB0}" srcId="{C09967F3-6B3D-4C0F-9064-6FCD67A4BE68}" destId="{F68A5415-E182-483A-91AA-7746477984EF}" srcOrd="1" destOrd="0" parTransId="{9E65AB1A-D271-4BA9-804D-BF942C588B83}" sibTransId="{9F15CB10-4D1B-40FC-9680-9FE8191FD6D8}"/>
    <dgm:cxn modelId="{112A9AF2-B8E5-47BF-96F0-2BABDEAA2694}" type="presOf" srcId="{C6296217-869E-4374-9F6E-DB665B21B951}" destId="{28E83C51-1C03-472F-92A0-83BB4C0A4AEC}" srcOrd="0" destOrd="0" presId="urn:microsoft.com/office/officeart/2005/8/layout/cycle4"/>
    <dgm:cxn modelId="{F60824F7-23AC-4951-9B37-EF17283C5A97}" type="presOf" srcId="{F68A5415-E182-483A-91AA-7746477984EF}" destId="{C15E6C0D-CAA7-4F8E-AF45-EEF49FEFBCD4}" srcOrd="0" destOrd="0" presId="urn:microsoft.com/office/officeart/2005/8/layout/cycle4"/>
    <dgm:cxn modelId="{47683E48-49CF-41AE-AFF8-907A8D73FB8D}" type="presParOf" srcId="{F2DDFD1B-F68A-40E0-88E0-E976FACD98A1}" destId="{8CB4F6CD-7E08-41FA-B398-1447F8A99DD6}" srcOrd="0" destOrd="0" presId="urn:microsoft.com/office/officeart/2005/8/layout/cycle4"/>
    <dgm:cxn modelId="{EC1DCCA4-A7B1-4C07-A349-B41D397A37A3}" type="presParOf" srcId="{8CB4F6CD-7E08-41FA-B398-1447F8A99DD6}" destId="{0EDEA0D6-29BE-42DD-A439-86E6D7F6234F}" srcOrd="0" destOrd="0" presId="urn:microsoft.com/office/officeart/2005/8/layout/cycle4"/>
    <dgm:cxn modelId="{8BD1167F-231D-486D-A070-FF45C1792AA4}" type="presParOf" srcId="{0EDEA0D6-29BE-42DD-A439-86E6D7F6234F}" destId="{5CDD9EEF-015E-46C3-869C-146E29BF7D4C}" srcOrd="0" destOrd="0" presId="urn:microsoft.com/office/officeart/2005/8/layout/cycle4"/>
    <dgm:cxn modelId="{7BCCF01D-78C2-406A-92A5-311EE77E5B32}" type="presParOf" srcId="{0EDEA0D6-29BE-42DD-A439-86E6D7F6234F}" destId="{DCEAEC6A-8A6A-4F79-A1DE-014D97E6640E}" srcOrd="1" destOrd="0" presId="urn:microsoft.com/office/officeart/2005/8/layout/cycle4"/>
    <dgm:cxn modelId="{FF65F04A-A50C-4A85-9730-9CD6A772170F}" type="presParOf" srcId="{8CB4F6CD-7E08-41FA-B398-1447F8A99DD6}" destId="{972AAFD3-AFFD-4B4D-97DE-3B16A52C5281}" srcOrd="1" destOrd="0" presId="urn:microsoft.com/office/officeart/2005/8/layout/cycle4"/>
    <dgm:cxn modelId="{AA901680-1FFE-458E-B1CD-B44192F643EF}" type="presParOf" srcId="{972AAFD3-AFFD-4B4D-97DE-3B16A52C5281}" destId="{C82DDF52-8735-439A-AE5A-746CB5BF674A}" srcOrd="0" destOrd="0" presId="urn:microsoft.com/office/officeart/2005/8/layout/cycle4"/>
    <dgm:cxn modelId="{73BA9BF5-70D8-4C9C-8E8B-83D4C10EAC60}" type="presParOf" srcId="{972AAFD3-AFFD-4B4D-97DE-3B16A52C5281}" destId="{6FDE359F-A030-4139-AEA1-63BE377BDEDE}" srcOrd="1" destOrd="0" presId="urn:microsoft.com/office/officeart/2005/8/layout/cycle4"/>
    <dgm:cxn modelId="{D6CC0F33-F10D-45AB-9C27-E1B13EBFFF17}" type="presParOf" srcId="{8CB4F6CD-7E08-41FA-B398-1447F8A99DD6}" destId="{9FFE6791-6642-4FD9-A701-141B2EEA2F27}" srcOrd="2" destOrd="0" presId="urn:microsoft.com/office/officeart/2005/8/layout/cycle4"/>
    <dgm:cxn modelId="{9E221BFE-95D8-4588-B79C-FBD8F581F5A4}" type="presParOf" srcId="{9FFE6791-6642-4FD9-A701-141B2EEA2F27}" destId="{D7B05E90-DE7F-46DA-8B3F-25B94DC2202B}" srcOrd="0" destOrd="0" presId="urn:microsoft.com/office/officeart/2005/8/layout/cycle4"/>
    <dgm:cxn modelId="{BCC50740-DE72-42FE-991F-4053260595F4}" type="presParOf" srcId="{9FFE6791-6642-4FD9-A701-141B2EEA2F27}" destId="{F832F0A1-0311-451F-92FE-C4D84985C710}" srcOrd="1" destOrd="0" presId="urn:microsoft.com/office/officeart/2005/8/layout/cycle4"/>
    <dgm:cxn modelId="{06FC46C4-6B71-4C93-9B74-BDE5134F0143}" type="presParOf" srcId="{8CB4F6CD-7E08-41FA-B398-1447F8A99DD6}" destId="{AA78C449-78FD-4C94-BD83-4816A52F34CF}" srcOrd="3" destOrd="0" presId="urn:microsoft.com/office/officeart/2005/8/layout/cycle4"/>
    <dgm:cxn modelId="{0F22D2AF-5742-4BF4-A6F9-901027D2F5B3}" type="presParOf" srcId="{AA78C449-78FD-4C94-BD83-4816A52F34CF}" destId="{B2A88913-9DE3-43FE-89C9-C2C082B912C2}" srcOrd="0" destOrd="0" presId="urn:microsoft.com/office/officeart/2005/8/layout/cycle4"/>
    <dgm:cxn modelId="{D539C297-424A-4ED7-8711-CF2404B80E91}" type="presParOf" srcId="{AA78C449-78FD-4C94-BD83-4816A52F34CF}" destId="{35021503-471F-4943-B754-D2A3B68249FA}" srcOrd="1" destOrd="0" presId="urn:microsoft.com/office/officeart/2005/8/layout/cycle4"/>
    <dgm:cxn modelId="{EF60B267-CE3C-4DA0-963D-EB3DE42A0F87}" type="presParOf" srcId="{8CB4F6CD-7E08-41FA-B398-1447F8A99DD6}" destId="{0B0616B8-DEB7-40C8-925B-15A868C9A38C}" srcOrd="4" destOrd="0" presId="urn:microsoft.com/office/officeart/2005/8/layout/cycle4"/>
    <dgm:cxn modelId="{BCC8C4B1-23AB-4372-B0F2-7BC6C7C8E6BF}" type="presParOf" srcId="{F2DDFD1B-F68A-40E0-88E0-E976FACD98A1}" destId="{1C5E8A29-7BD0-4869-BD5C-E8AFF92D0E53}" srcOrd="1" destOrd="0" presId="urn:microsoft.com/office/officeart/2005/8/layout/cycle4"/>
    <dgm:cxn modelId="{F5EA1647-4FC8-44D9-8D65-95F214D3F8FB}" type="presParOf" srcId="{1C5E8A29-7BD0-4869-BD5C-E8AFF92D0E53}" destId="{28E83C51-1C03-472F-92A0-83BB4C0A4AEC}" srcOrd="0" destOrd="0" presId="urn:microsoft.com/office/officeart/2005/8/layout/cycle4"/>
    <dgm:cxn modelId="{4935F68E-E56F-47CF-A132-A4B989A8000B}" type="presParOf" srcId="{1C5E8A29-7BD0-4869-BD5C-E8AFF92D0E53}" destId="{C15E6C0D-CAA7-4F8E-AF45-EEF49FEFBCD4}" srcOrd="1" destOrd="0" presId="urn:microsoft.com/office/officeart/2005/8/layout/cycle4"/>
    <dgm:cxn modelId="{8C0CBADC-811B-4D82-A80B-0086A582B193}" type="presParOf" srcId="{1C5E8A29-7BD0-4869-BD5C-E8AFF92D0E53}" destId="{84DC1035-9A9F-4D90-B412-B22A975AF237}" srcOrd="2" destOrd="0" presId="urn:microsoft.com/office/officeart/2005/8/layout/cycle4"/>
    <dgm:cxn modelId="{D191E410-4E15-473A-886E-6473934EDF04}" type="presParOf" srcId="{1C5E8A29-7BD0-4869-BD5C-E8AFF92D0E53}" destId="{650B420D-9A8D-4056-8F21-3E7450B9E01E}" srcOrd="3" destOrd="0" presId="urn:microsoft.com/office/officeart/2005/8/layout/cycle4"/>
    <dgm:cxn modelId="{B241C52A-1E1B-475F-A41F-E74236E66C6B}" type="presParOf" srcId="{1C5E8A29-7BD0-4869-BD5C-E8AFF92D0E53}" destId="{6B8017B2-6D5C-4356-B919-1ADD4C5830ED}" srcOrd="4" destOrd="0" presId="urn:microsoft.com/office/officeart/2005/8/layout/cycle4"/>
    <dgm:cxn modelId="{5A2601DD-1493-4DF8-8F34-562216F050B9}" type="presParOf" srcId="{F2DDFD1B-F68A-40E0-88E0-E976FACD98A1}" destId="{4BB50CDF-C10A-470F-ACCF-F734BD4D9585}" srcOrd="2" destOrd="0" presId="urn:microsoft.com/office/officeart/2005/8/layout/cycle4"/>
    <dgm:cxn modelId="{C30982C4-34FC-45CF-8023-D37778E9C0C2}" type="presParOf" srcId="{F2DDFD1B-F68A-40E0-88E0-E976FACD98A1}" destId="{803B5FAA-B94C-453E-9B01-0C19AEA05ADA}"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A78C7EF-C085-41EE-8EB6-85A39B16DD44}" type="doc">
      <dgm:prSet loTypeId="urn:microsoft.com/office/officeart/2005/8/layout/bProcess4" loCatId="process" qsTypeId="urn:microsoft.com/office/officeart/2005/8/quickstyle/simple1" qsCatId="simple" csTypeId="urn:microsoft.com/office/officeart/2005/8/colors/accent3_4" csCatId="accent3" phldr="1"/>
      <dgm:spPr/>
      <dgm:t>
        <a:bodyPr/>
        <a:lstStyle/>
        <a:p>
          <a:endParaRPr lang="de-DE"/>
        </a:p>
      </dgm:t>
    </dgm:pt>
    <dgm:pt modelId="{B079D3D3-13E3-4B7C-8349-D7A4C613BCE6}">
      <dgm:prSet phldrT="[Text]"/>
      <dgm:spPr/>
      <dgm:t>
        <a:bodyPr/>
        <a:lstStyle/>
        <a:p>
          <a:pPr>
            <a:buFont typeface="Arial" panose="020B0604020202020204" pitchFamily="34" charset="0"/>
            <a:buChar char="•"/>
          </a:pPr>
          <a:r>
            <a:rPr lang="pl-PL"/>
            <a:t>IT services available to any subscriber on the Internet</a:t>
          </a:r>
          <a:endParaRPr lang="de-DE" dirty="0"/>
        </a:p>
      </dgm:t>
    </dgm:pt>
    <dgm:pt modelId="{C5CBE84A-63DD-4296-885C-C9060B617EC6}" type="parTrans" cxnId="{8C2EC7B6-AB40-43AF-91BF-DC8502CA49BC}">
      <dgm:prSet/>
      <dgm:spPr/>
      <dgm:t>
        <a:bodyPr/>
        <a:lstStyle/>
        <a:p>
          <a:endParaRPr lang="de-DE"/>
        </a:p>
      </dgm:t>
    </dgm:pt>
    <dgm:pt modelId="{F35988C2-7A38-441A-8E91-1AC58DB74826}" type="sibTrans" cxnId="{8C2EC7B6-AB40-43AF-91BF-DC8502CA49BC}">
      <dgm:prSet/>
      <dgm:spPr/>
      <dgm:t>
        <a:bodyPr/>
        <a:lstStyle/>
        <a:p>
          <a:endParaRPr lang="de-DE"/>
        </a:p>
      </dgm:t>
    </dgm:pt>
    <dgm:pt modelId="{196D467A-3CE9-40AE-B571-D5B34E4E603F}">
      <dgm:prSet/>
      <dgm:spPr/>
      <dgm:t>
        <a:bodyPr/>
        <a:lstStyle/>
        <a:p>
          <a:r>
            <a:rPr lang="pl-PL"/>
            <a:t>IT services hosted on provider equipment – all costs covered by provider</a:t>
          </a:r>
          <a:endParaRPr lang="pl-PL" dirty="0"/>
        </a:p>
      </dgm:t>
    </dgm:pt>
    <dgm:pt modelId="{7384A671-48A4-406E-8C60-EBF4A0342446}" type="parTrans" cxnId="{1F0FB893-ABA0-4661-AA42-CD030A73FC95}">
      <dgm:prSet/>
      <dgm:spPr/>
      <dgm:t>
        <a:bodyPr/>
        <a:lstStyle/>
        <a:p>
          <a:endParaRPr lang="de-DE"/>
        </a:p>
      </dgm:t>
    </dgm:pt>
    <dgm:pt modelId="{C0679A2A-33DE-423F-AD9A-6A60EB36FB61}" type="sibTrans" cxnId="{1F0FB893-ABA0-4661-AA42-CD030A73FC95}">
      <dgm:prSet/>
      <dgm:spPr/>
      <dgm:t>
        <a:bodyPr/>
        <a:lstStyle/>
        <a:p>
          <a:endParaRPr lang="de-DE"/>
        </a:p>
      </dgm:t>
    </dgm:pt>
    <dgm:pt modelId="{DD44EA74-117A-472B-877D-3ED14B1D164C}">
      <dgm:prSet/>
      <dgm:spPr/>
      <dgm:t>
        <a:bodyPr/>
        <a:lstStyle/>
        <a:p>
          <a:r>
            <a:rPr lang="pl-PL"/>
            <a:t>Service is available 24/7</a:t>
          </a:r>
          <a:endParaRPr lang="pl-PL" dirty="0"/>
        </a:p>
      </dgm:t>
    </dgm:pt>
    <dgm:pt modelId="{7ACE08D2-E826-4882-A9B5-D9D9AE80FEFD}" type="parTrans" cxnId="{73107FE2-3FD5-40D7-8273-2546A6B83926}">
      <dgm:prSet/>
      <dgm:spPr/>
      <dgm:t>
        <a:bodyPr/>
        <a:lstStyle/>
        <a:p>
          <a:endParaRPr lang="de-DE"/>
        </a:p>
      </dgm:t>
    </dgm:pt>
    <dgm:pt modelId="{542B0046-5F79-4828-B7A6-795964C5B79C}" type="sibTrans" cxnId="{73107FE2-3FD5-40D7-8273-2546A6B83926}">
      <dgm:prSet/>
      <dgm:spPr/>
      <dgm:t>
        <a:bodyPr/>
        <a:lstStyle/>
        <a:p>
          <a:endParaRPr lang="de-DE"/>
        </a:p>
      </dgm:t>
    </dgm:pt>
    <dgm:pt modelId="{4575439F-0B13-42CB-BB27-C447DD35F79E}">
      <dgm:prSet/>
      <dgm:spPr/>
      <dgm:t>
        <a:bodyPr/>
        <a:lstStyle/>
        <a:p>
          <a:r>
            <a:rPr lang="pl-PL"/>
            <a:t>Easy and inexpensive for consumers – pay for what you use</a:t>
          </a:r>
          <a:endParaRPr lang="pl-PL" dirty="0"/>
        </a:p>
      </dgm:t>
    </dgm:pt>
    <dgm:pt modelId="{22F3FDF7-AD94-4AC8-A32B-4F3C03703F4B}" type="parTrans" cxnId="{B3A3E2F7-FB1D-4775-BED2-2AC5095B9D6F}">
      <dgm:prSet/>
      <dgm:spPr/>
      <dgm:t>
        <a:bodyPr/>
        <a:lstStyle/>
        <a:p>
          <a:endParaRPr lang="de-DE"/>
        </a:p>
      </dgm:t>
    </dgm:pt>
    <dgm:pt modelId="{0BF72E4F-8277-49D7-A156-15BBCD669B4D}" type="sibTrans" cxnId="{B3A3E2F7-FB1D-4775-BED2-2AC5095B9D6F}">
      <dgm:prSet/>
      <dgm:spPr/>
      <dgm:t>
        <a:bodyPr/>
        <a:lstStyle/>
        <a:p>
          <a:endParaRPr lang="de-DE"/>
        </a:p>
      </dgm:t>
    </dgm:pt>
    <dgm:pt modelId="{0175AF93-3BF9-4B4F-A5FC-CB9BB7A48ECD}">
      <dgm:prSet/>
      <dgm:spPr/>
      <dgm:t>
        <a:bodyPr/>
        <a:lstStyle/>
        <a:p>
          <a:r>
            <a:rPr lang="pl-PL"/>
            <a:t>Supports multiple customers</a:t>
          </a:r>
          <a:endParaRPr lang="pl-PL" dirty="0"/>
        </a:p>
      </dgm:t>
    </dgm:pt>
    <dgm:pt modelId="{A5A0D6C5-346E-49FA-94D5-C414BA0BB149}" type="parTrans" cxnId="{B39DFE56-EB04-4CEE-88A2-36D9B3D6101E}">
      <dgm:prSet/>
      <dgm:spPr/>
      <dgm:t>
        <a:bodyPr/>
        <a:lstStyle/>
        <a:p>
          <a:endParaRPr lang="de-DE"/>
        </a:p>
      </dgm:t>
    </dgm:pt>
    <dgm:pt modelId="{687560A4-4CCA-4014-A041-FF4E961958F8}" type="sibTrans" cxnId="{B39DFE56-EB04-4CEE-88A2-36D9B3D6101E}">
      <dgm:prSet/>
      <dgm:spPr/>
      <dgm:t>
        <a:bodyPr/>
        <a:lstStyle/>
        <a:p>
          <a:endParaRPr lang="de-DE"/>
        </a:p>
      </dgm:t>
    </dgm:pt>
    <dgm:pt modelId="{BDD75964-C390-4281-8EEB-AFD978B521E9}">
      <dgm:prSet/>
      <dgm:spPr/>
      <dgm:t>
        <a:bodyPr/>
        <a:lstStyle/>
        <a:p>
          <a:r>
            <a:rPr lang="pl-PL"/>
            <a:t>Suited for information that is not sensitive</a:t>
          </a:r>
          <a:endParaRPr lang="pl-PL" dirty="0"/>
        </a:p>
      </dgm:t>
    </dgm:pt>
    <dgm:pt modelId="{BF94BAE7-20C8-4B4A-B671-09932CD49599}" type="parTrans" cxnId="{5CE00274-70EE-4682-8EDA-486F8D51291A}">
      <dgm:prSet/>
      <dgm:spPr/>
      <dgm:t>
        <a:bodyPr/>
        <a:lstStyle/>
        <a:p>
          <a:endParaRPr lang="de-DE"/>
        </a:p>
      </dgm:t>
    </dgm:pt>
    <dgm:pt modelId="{15A50F24-D8F3-4C33-8DE3-F159A5F3A63B}" type="sibTrans" cxnId="{5CE00274-70EE-4682-8EDA-486F8D51291A}">
      <dgm:prSet/>
      <dgm:spPr/>
      <dgm:t>
        <a:bodyPr/>
        <a:lstStyle/>
        <a:p>
          <a:endParaRPr lang="de-DE"/>
        </a:p>
      </dgm:t>
    </dgm:pt>
    <dgm:pt modelId="{EFCB21AA-473B-43C0-A4E8-05743A7B5760}">
      <dgm:prSet/>
      <dgm:spPr/>
      <dgm:t>
        <a:bodyPr/>
        <a:lstStyle/>
        <a:p>
          <a:r>
            <a:rPr lang="pl-PL"/>
            <a:t>Rapid scalability – on-demand provisioning</a:t>
          </a:r>
          <a:endParaRPr lang="pl-PL" dirty="0"/>
        </a:p>
      </dgm:t>
    </dgm:pt>
    <dgm:pt modelId="{04DD269F-C2AE-4C7B-941B-69678CF0AB60}" type="parTrans" cxnId="{925F3B7F-32F1-40B3-B68C-DE5DE74DBB92}">
      <dgm:prSet/>
      <dgm:spPr/>
      <dgm:t>
        <a:bodyPr/>
        <a:lstStyle/>
        <a:p>
          <a:endParaRPr lang="de-DE"/>
        </a:p>
      </dgm:t>
    </dgm:pt>
    <dgm:pt modelId="{2CD55B5C-60DB-4E73-BABF-7A71CC886891}" type="sibTrans" cxnId="{925F3B7F-32F1-40B3-B68C-DE5DE74DBB92}">
      <dgm:prSet/>
      <dgm:spPr/>
      <dgm:t>
        <a:bodyPr/>
        <a:lstStyle/>
        <a:p>
          <a:endParaRPr lang="de-DE"/>
        </a:p>
      </dgm:t>
    </dgm:pt>
    <dgm:pt modelId="{10C04C5D-CFFF-4B02-BC60-6DEF19146BE0}">
      <dgm:prSet/>
      <dgm:spPr/>
      <dgm:t>
        <a:bodyPr/>
        <a:lstStyle/>
        <a:p>
          <a:r>
            <a:rPr lang="pl-PL"/>
            <a:t>Data centers can replicate data</a:t>
          </a:r>
          <a:endParaRPr lang="pl-PL" dirty="0"/>
        </a:p>
      </dgm:t>
    </dgm:pt>
    <dgm:pt modelId="{57760460-52EB-4886-9807-E156CEC9511E}" type="parTrans" cxnId="{57169C47-9EF7-49C6-AAE7-799598C53E3B}">
      <dgm:prSet/>
      <dgm:spPr/>
      <dgm:t>
        <a:bodyPr/>
        <a:lstStyle/>
        <a:p>
          <a:endParaRPr lang="de-DE"/>
        </a:p>
      </dgm:t>
    </dgm:pt>
    <dgm:pt modelId="{E675B0B7-7F29-49B8-903F-CC7EDC839078}" type="sibTrans" cxnId="{57169C47-9EF7-49C6-AAE7-799598C53E3B}">
      <dgm:prSet/>
      <dgm:spPr/>
      <dgm:t>
        <a:bodyPr/>
        <a:lstStyle/>
        <a:p>
          <a:endParaRPr lang="de-DE"/>
        </a:p>
      </dgm:t>
    </dgm:pt>
    <dgm:pt modelId="{BD34EB56-9536-4A8F-B128-BB9D8D67B87D}">
      <dgm:prSet/>
      <dgm:spPr/>
      <dgm:t>
        <a:bodyPr/>
        <a:lstStyle/>
        <a:p>
          <a:r>
            <a:rPr lang="pl-PL"/>
            <a:t>Provider makes capital investment in infrastructure</a:t>
          </a:r>
          <a:endParaRPr lang="pl-PL" dirty="0"/>
        </a:p>
      </dgm:t>
    </dgm:pt>
    <dgm:pt modelId="{14D61580-BC18-4DA0-90CA-66981D62D850}" type="parTrans" cxnId="{66EB4998-A8F1-49AE-B3B1-4455530E69F1}">
      <dgm:prSet/>
      <dgm:spPr/>
      <dgm:t>
        <a:bodyPr/>
        <a:lstStyle/>
        <a:p>
          <a:endParaRPr lang="de-DE"/>
        </a:p>
      </dgm:t>
    </dgm:pt>
    <dgm:pt modelId="{B8F4CB4C-7EEF-4CA8-86AF-8AC9C6CCC207}" type="sibTrans" cxnId="{66EB4998-A8F1-49AE-B3B1-4455530E69F1}">
      <dgm:prSet/>
      <dgm:spPr/>
      <dgm:t>
        <a:bodyPr/>
        <a:lstStyle/>
        <a:p>
          <a:endParaRPr lang="de-DE"/>
        </a:p>
      </dgm:t>
    </dgm:pt>
    <dgm:pt modelId="{88C6D400-3D29-4E27-86E2-DF248BEECE2D}">
      <dgm:prSet/>
      <dgm:spPr/>
      <dgm:t>
        <a:bodyPr/>
        <a:lstStyle/>
        <a:p>
          <a:r>
            <a:rPr lang="pl-PL"/>
            <a:t>Consumers treat public cloud costs as operational expenses</a:t>
          </a:r>
          <a:endParaRPr lang="pl-PL" dirty="0"/>
        </a:p>
      </dgm:t>
    </dgm:pt>
    <dgm:pt modelId="{227A9218-E7E0-4884-96FD-65D77E2C3C4D}" type="parTrans" cxnId="{00DC2065-D603-4483-AD12-A1F0E1B73CB2}">
      <dgm:prSet/>
      <dgm:spPr/>
      <dgm:t>
        <a:bodyPr/>
        <a:lstStyle/>
        <a:p>
          <a:endParaRPr lang="de-DE"/>
        </a:p>
      </dgm:t>
    </dgm:pt>
    <dgm:pt modelId="{EB229A2E-B26C-4659-9B4C-32C0C651A651}" type="sibTrans" cxnId="{00DC2065-D603-4483-AD12-A1F0E1B73CB2}">
      <dgm:prSet/>
      <dgm:spPr/>
      <dgm:t>
        <a:bodyPr/>
        <a:lstStyle/>
        <a:p>
          <a:endParaRPr lang="de-DE"/>
        </a:p>
      </dgm:t>
    </dgm:pt>
    <dgm:pt modelId="{85E67DBB-C10F-4B38-908E-7EAC3C06A7A7}">
      <dgm:prSet/>
      <dgm:spPr/>
      <dgm:t>
        <a:bodyPr/>
        <a:lstStyle/>
        <a:p>
          <a:r>
            <a:rPr lang="pl-PL"/>
            <a:t>Reduced local space use, energy consumption</a:t>
          </a:r>
          <a:endParaRPr lang="pl-PL" dirty="0"/>
        </a:p>
      </dgm:t>
    </dgm:pt>
    <dgm:pt modelId="{FB7E6326-59A4-40E4-9755-31C211974E2E}" type="parTrans" cxnId="{AC6F7FD5-F177-410F-B8B9-F28B51463626}">
      <dgm:prSet/>
      <dgm:spPr/>
      <dgm:t>
        <a:bodyPr/>
        <a:lstStyle/>
        <a:p>
          <a:endParaRPr lang="de-DE"/>
        </a:p>
      </dgm:t>
    </dgm:pt>
    <dgm:pt modelId="{3A75BF1A-742B-4A17-AE6E-4DA40E13EDE4}" type="sibTrans" cxnId="{AC6F7FD5-F177-410F-B8B9-F28B51463626}">
      <dgm:prSet/>
      <dgm:spPr/>
      <dgm:t>
        <a:bodyPr/>
        <a:lstStyle/>
        <a:p>
          <a:endParaRPr lang="de-DE"/>
        </a:p>
      </dgm:t>
    </dgm:pt>
    <dgm:pt modelId="{F506C13C-7494-4309-97CE-8F3F17F4FF2E}">
      <dgm:prSet/>
      <dgm:spPr/>
      <dgm:t>
        <a:bodyPr/>
        <a:lstStyle/>
        <a:p>
          <a:r>
            <a:rPr lang="pl-PL"/>
            <a:t>Less local IT expertise required – maintained by external provider</a:t>
          </a:r>
          <a:endParaRPr lang="pl-PL" dirty="0"/>
        </a:p>
      </dgm:t>
    </dgm:pt>
    <dgm:pt modelId="{447E5856-CEE1-4E66-94B8-BFEFDC1395EB}" type="parTrans" cxnId="{F6BCF93C-E060-4ECF-B10D-B1C5D81BA376}">
      <dgm:prSet/>
      <dgm:spPr/>
      <dgm:t>
        <a:bodyPr/>
        <a:lstStyle/>
        <a:p>
          <a:endParaRPr lang="de-DE"/>
        </a:p>
      </dgm:t>
    </dgm:pt>
    <dgm:pt modelId="{7C9FA1B5-1D79-47CD-846A-D97F1B206BA6}" type="sibTrans" cxnId="{F6BCF93C-E060-4ECF-B10D-B1C5D81BA376}">
      <dgm:prSet/>
      <dgm:spPr/>
      <dgm:t>
        <a:bodyPr/>
        <a:lstStyle/>
        <a:p>
          <a:endParaRPr lang="de-DE"/>
        </a:p>
      </dgm:t>
    </dgm:pt>
    <dgm:pt modelId="{A7ED3A79-ECE4-47B3-BEBB-5FD0EB1DDCDA}">
      <dgm:prSet/>
      <dgm:spPr/>
      <dgm:t>
        <a:bodyPr/>
        <a:lstStyle/>
        <a:p>
          <a:r>
            <a:rPr lang="pl-PL"/>
            <a:t>Responsibility for IT service maintenance falls on provider</a:t>
          </a:r>
          <a:endParaRPr lang="pl-PL" dirty="0"/>
        </a:p>
      </dgm:t>
    </dgm:pt>
    <dgm:pt modelId="{56354C70-9E80-457D-88FA-B864CE9CF146}" type="parTrans" cxnId="{37806D6D-4DAC-4E4A-91B8-DD795F91B835}">
      <dgm:prSet/>
      <dgm:spPr/>
      <dgm:t>
        <a:bodyPr/>
        <a:lstStyle/>
        <a:p>
          <a:endParaRPr lang="de-DE"/>
        </a:p>
      </dgm:t>
    </dgm:pt>
    <dgm:pt modelId="{0D4E3D93-5C48-4234-B60C-85DDB5C8EEB0}" type="sibTrans" cxnId="{37806D6D-4DAC-4E4A-91B8-DD795F91B835}">
      <dgm:prSet/>
      <dgm:spPr/>
      <dgm:t>
        <a:bodyPr/>
        <a:lstStyle/>
        <a:p>
          <a:endParaRPr lang="de-DE"/>
        </a:p>
      </dgm:t>
    </dgm:pt>
    <dgm:pt modelId="{3C91CAC9-E3FB-4FC4-9288-6B028DE4DACE}">
      <dgm:prSet/>
      <dgm:spPr/>
      <dgm:t>
        <a:bodyPr/>
        <a:lstStyle/>
        <a:p>
          <a:r>
            <a:rPr lang="pl-PL"/>
            <a:t>No full control over the data</a:t>
          </a:r>
          <a:endParaRPr lang="pl-PL" dirty="0"/>
        </a:p>
      </dgm:t>
    </dgm:pt>
    <dgm:pt modelId="{FD22C288-8AE7-4AE0-8D61-8219D886D193}" type="parTrans" cxnId="{3E9C6DD6-5F76-4A08-91E5-73FEAE8A2650}">
      <dgm:prSet/>
      <dgm:spPr/>
      <dgm:t>
        <a:bodyPr/>
        <a:lstStyle/>
        <a:p>
          <a:endParaRPr lang="de-DE"/>
        </a:p>
      </dgm:t>
    </dgm:pt>
    <dgm:pt modelId="{C2D4584F-AC56-4AC2-B8D7-CD477557D536}" type="sibTrans" cxnId="{3E9C6DD6-5F76-4A08-91E5-73FEAE8A2650}">
      <dgm:prSet/>
      <dgm:spPr/>
      <dgm:t>
        <a:bodyPr/>
        <a:lstStyle/>
        <a:p>
          <a:endParaRPr lang="de-DE"/>
        </a:p>
      </dgm:t>
    </dgm:pt>
    <dgm:pt modelId="{ACDAE787-498F-4063-8867-85418C2C929A}">
      <dgm:prSet/>
      <dgm:spPr/>
      <dgm:t>
        <a:bodyPr/>
        <a:lstStyle/>
        <a:p>
          <a:r>
            <a:rPr lang="pl-PL"/>
            <a:t>Good scalibility</a:t>
          </a:r>
          <a:endParaRPr lang="de-DE" dirty="0"/>
        </a:p>
      </dgm:t>
    </dgm:pt>
    <dgm:pt modelId="{A3E7E8E4-3D13-4A38-AB78-1313E57F2AE1}" type="parTrans" cxnId="{6009DCB1-D6C1-40BD-8AD0-82793D2A7DC6}">
      <dgm:prSet/>
      <dgm:spPr/>
      <dgm:t>
        <a:bodyPr/>
        <a:lstStyle/>
        <a:p>
          <a:endParaRPr lang="de-DE"/>
        </a:p>
      </dgm:t>
    </dgm:pt>
    <dgm:pt modelId="{B08575E6-7CB9-443C-A8B5-72BD75E82F31}" type="sibTrans" cxnId="{6009DCB1-D6C1-40BD-8AD0-82793D2A7DC6}">
      <dgm:prSet/>
      <dgm:spPr/>
      <dgm:t>
        <a:bodyPr/>
        <a:lstStyle/>
        <a:p>
          <a:endParaRPr lang="de-DE"/>
        </a:p>
      </dgm:t>
    </dgm:pt>
    <dgm:pt modelId="{CB6B38DD-1D19-4514-A6D5-B98DD23FF534}" type="pres">
      <dgm:prSet presAssocID="{0A78C7EF-C085-41EE-8EB6-85A39B16DD44}" presName="Name0" presStyleCnt="0">
        <dgm:presLayoutVars>
          <dgm:dir/>
          <dgm:resizeHandles/>
        </dgm:presLayoutVars>
      </dgm:prSet>
      <dgm:spPr/>
    </dgm:pt>
    <dgm:pt modelId="{9D14E157-0627-4ECB-B6D0-1483D803E3D9}" type="pres">
      <dgm:prSet presAssocID="{B079D3D3-13E3-4B7C-8349-D7A4C613BCE6}" presName="compNode" presStyleCnt="0"/>
      <dgm:spPr/>
    </dgm:pt>
    <dgm:pt modelId="{41E3E337-CAB4-410A-99DE-857D0F8AF9EE}" type="pres">
      <dgm:prSet presAssocID="{B079D3D3-13E3-4B7C-8349-D7A4C613BCE6}" presName="dummyConnPt" presStyleCnt="0"/>
      <dgm:spPr/>
    </dgm:pt>
    <dgm:pt modelId="{B789F261-BC77-4A13-96DF-F4001797014B}" type="pres">
      <dgm:prSet presAssocID="{B079D3D3-13E3-4B7C-8349-D7A4C613BCE6}" presName="node" presStyleLbl="node1" presStyleIdx="0" presStyleCnt="15">
        <dgm:presLayoutVars>
          <dgm:bulletEnabled val="1"/>
        </dgm:presLayoutVars>
      </dgm:prSet>
      <dgm:spPr/>
    </dgm:pt>
    <dgm:pt modelId="{42AEE6EA-2C81-4DBD-99A1-D05EC1A66EE6}" type="pres">
      <dgm:prSet presAssocID="{F35988C2-7A38-441A-8E91-1AC58DB74826}" presName="sibTrans" presStyleLbl="bgSibTrans2D1" presStyleIdx="0" presStyleCnt="14"/>
      <dgm:spPr/>
    </dgm:pt>
    <dgm:pt modelId="{F0721CC6-D2D8-4876-8F12-EF2C3D617168}" type="pres">
      <dgm:prSet presAssocID="{196D467A-3CE9-40AE-B571-D5B34E4E603F}" presName="compNode" presStyleCnt="0"/>
      <dgm:spPr/>
    </dgm:pt>
    <dgm:pt modelId="{787F3323-201A-4DC5-983C-FF74FAC8D46A}" type="pres">
      <dgm:prSet presAssocID="{196D467A-3CE9-40AE-B571-D5B34E4E603F}" presName="dummyConnPt" presStyleCnt="0"/>
      <dgm:spPr/>
    </dgm:pt>
    <dgm:pt modelId="{BA674C85-F1C9-4AC9-84D4-5BEC6FAF818E}" type="pres">
      <dgm:prSet presAssocID="{196D467A-3CE9-40AE-B571-D5B34E4E603F}" presName="node" presStyleLbl="node1" presStyleIdx="1" presStyleCnt="15">
        <dgm:presLayoutVars>
          <dgm:bulletEnabled val="1"/>
        </dgm:presLayoutVars>
      </dgm:prSet>
      <dgm:spPr/>
    </dgm:pt>
    <dgm:pt modelId="{ECE53AFB-51FA-4707-A40E-731A35FE286B}" type="pres">
      <dgm:prSet presAssocID="{C0679A2A-33DE-423F-AD9A-6A60EB36FB61}" presName="sibTrans" presStyleLbl="bgSibTrans2D1" presStyleIdx="1" presStyleCnt="14"/>
      <dgm:spPr/>
    </dgm:pt>
    <dgm:pt modelId="{1CC6D222-FBA0-4235-9C1C-8CC0D39666DF}" type="pres">
      <dgm:prSet presAssocID="{DD44EA74-117A-472B-877D-3ED14B1D164C}" presName="compNode" presStyleCnt="0"/>
      <dgm:spPr/>
    </dgm:pt>
    <dgm:pt modelId="{48AF3559-CA34-4583-B04F-0EB08466AB59}" type="pres">
      <dgm:prSet presAssocID="{DD44EA74-117A-472B-877D-3ED14B1D164C}" presName="dummyConnPt" presStyleCnt="0"/>
      <dgm:spPr/>
    </dgm:pt>
    <dgm:pt modelId="{04B6F10C-36AC-485D-9341-57EB0F549180}" type="pres">
      <dgm:prSet presAssocID="{DD44EA74-117A-472B-877D-3ED14B1D164C}" presName="node" presStyleLbl="node1" presStyleIdx="2" presStyleCnt="15">
        <dgm:presLayoutVars>
          <dgm:bulletEnabled val="1"/>
        </dgm:presLayoutVars>
      </dgm:prSet>
      <dgm:spPr/>
    </dgm:pt>
    <dgm:pt modelId="{32C988AE-6F40-447B-99FF-7B79E602B135}" type="pres">
      <dgm:prSet presAssocID="{542B0046-5F79-4828-B7A6-795964C5B79C}" presName="sibTrans" presStyleLbl="bgSibTrans2D1" presStyleIdx="2" presStyleCnt="14"/>
      <dgm:spPr/>
    </dgm:pt>
    <dgm:pt modelId="{0E5289FE-C190-4E1D-A461-286774ABFDAA}" type="pres">
      <dgm:prSet presAssocID="{4575439F-0B13-42CB-BB27-C447DD35F79E}" presName="compNode" presStyleCnt="0"/>
      <dgm:spPr/>
    </dgm:pt>
    <dgm:pt modelId="{06705B58-5D42-4AB8-B047-2E346007F49E}" type="pres">
      <dgm:prSet presAssocID="{4575439F-0B13-42CB-BB27-C447DD35F79E}" presName="dummyConnPt" presStyleCnt="0"/>
      <dgm:spPr/>
    </dgm:pt>
    <dgm:pt modelId="{6824B68D-B7EC-4FD2-BBF4-FD036D6F82CC}" type="pres">
      <dgm:prSet presAssocID="{4575439F-0B13-42CB-BB27-C447DD35F79E}" presName="node" presStyleLbl="node1" presStyleIdx="3" presStyleCnt="15">
        <dgm:presLayoutVars>
          <dgm:bulletEnabled val="1"/>
        </dgm:presLayoutVars>
      </dgm:prSet>
      <dgm:spPr/>
    </dgm:pt>
    <dgm:pt modelId="{27C045D3-5A9B-45B3-B98A-A9F11312EF80}" type="pres">
      <dgm:prSet presAssocID="{0BF72E4F-8277-49D7-A156-15BBCD669B4D}" presName="sibTrans" presStyleLbl="bgSibTrans2D1" presStyleIdx="3" presStyleCnt="14"/>
      <dgm:spPr/>
    </dgm:pt>
    <dgm:pt modelId="{0D842A7C-1466-42A6-8663-24F8CFA0B597}" type="pres">
      <dgm:prSet presAssocID="{0175AF93-3BF9-4B4F-A5FC-CB9BB7A48ECD}" presName="compNode" presStyleCnt="0"/>
      <dgm:spPr/>
    </dgm:pt>
    <dgm:pt modelId="{131557A4-71CC-4264-87BF-BB20D0032B15}" type="pres">
      <dgm:prSet presAssocID="{0175AF93-3BF9-4B4F-A5FC-CB9BB7A48ECD}" presName="dummyConnPt" presStyleCnt="0"/>
      <dgm:spPr/>
    </dgm:pt>
    <dgm:pt modelId="{A5686584-C952-4FF9-A05D-05783C7C9A1B}" type="pres">
      <dgm:prSet presAssocID="{0175AF93-3BF9-4B4F-A5FC-CB9BB7A48ECD}" presName="node" presStyleLbl="node1" presStyleIdx="4" presStyleCnt="15">
        <dgm:presLayoutVars>
          <dgm:bulletEnabled val="1"/>
        </dgm:presLayoutVars>
      </dgm:prSet>
      <dgm:spPr/>
    </dgm:pt>
    <dgm:pt modelId="{D53E1A61-DF71-46CE-8C44-A57D2F07E105}" type="pres">
      <dgm:prSet presAssocID="{687560A4-4CCA-4014-A041-FF4E961958F8}" presName="sibTrans" presStyleLbl="bgSibTrans2D1" presStyleIdx="4" presStyleCnt="14"/>
      <dgm:spPr/>
    </dgm:pt>
    <dgm:pt modelId="{75F8A44D-3E7F-4997-950D-ADA45C8F3227}" type="pres">
      <dgm:prSet presAssocID="{BDD75964-C390-4281-8EEB-AFD978B521E9}" presName="compNode" presStyleCnt="0"/>
      <dgm:spPr/>
    </dgm:pt>
    <dgm:pt modelId="{F14E16AB-4C2C-41A9-B1B4-3F8BEC14BFDA}" type="pres">
      <dgm:prSet presAssocID="{BDD75964-C390-4281-8EEB-AFD978B521E9}" presName="dummyConnPt" presStyleCnt="0"/>
      <dgm:spPr/>
    </dgm:pt>
    <dgm:pt modelId="{751D34F1-5B10-41ED-9385-2C63F5D0A002}" type="pres">
      <dgm:prSet presAssocID="{BDD75964-C390-4281-8EEB-AFD978B521E9}" presName="node" presStyleLbl="node1" presStyleIdx="5" presStyleCnt="15">
        <dgm:presLayoutVars>
          <dgm:bulletEnabled val="1"/>
        </dgm:presLayoutVars>
      </dgm:prSet>
      <dgm:spPr/>
    </dgm:pt>
    <dgm:pt modelId="{0FCC7A8C-E0F2-4B94-8BD4-FF84C2F2DB5A}" type="pres">
      <dgm:prSet presAssocID="{15A50F24-D8F3-4C33-8DE3-F159A5F3A63B}" presName="sibTrans" presStyleLbl="bgSibTrans2D1" presStyleIdx="5" presStyleCnt="14"/>
      <dgm:spPr/>
    </dgm:pt>
    <dgm:pt modelId="{F59E5F49-12CF-4027-8358-50881750246D}" type="pres">
      <dgm:prSet presAssocID="{EFCB21AA-473B-43C0-A4E8-05743A7B5760}" presName="compNode" presStyleCnt="0"/>
      <dgm:spPr/>
    </dgm:pt>
    <dgm:pt modelId="{25989B9C-A433-458F-8B8C-7A008D9B2E7F}" type="pres">
      <dgm:prSet presAssocID="{EFCB21AA-473B-43C0-A4E8-05743A7B5760}" presName="dummyConnPt" presStyleCnt="0"/>
      <dgm:spPr/>
    </dgm:pt>
    <dgm:pt modelId="{61305969-BAF9-4E08-A423-4DE487FA40DF}" type="pres">
      <dgm:prSet presAssocID="{EFCB21AA-473B-43C0-A4E8-05743A7B5760}" presName="node" presStyleLbl="node1" presStyleIdx="6" presStyleCnt="15">
        <dgm:presLayoutVars>
          <dgm:bulletEnabled val="1"/>
        </dgm:presLayoutVars>
      </dgm:prSet>
      <dgm:spPr/>
    </dgm:pt>
    <dgm:pt modelId="{318318A3-47E8-4916-A8F2-0AC67CCC29E6}" type="pres">
      <dgm:prSet presAssocID="{2CD55B5C-60DB-4E73-BABF-7A71CC886891}" presName="sibTrans" presStyleLbl="bgSibTrans2D1" presStyleIdx="6" presStyleCnt="14"/>
      <dgm:spPr/>
    </dgm:pt>
    <dgm:pt modelId="{2676BFAE-DC5C-4F79-8E20-5BC2EBBC492E}" type="pres">
      <dgm:prSet presAssocID="{10C04C5D-CFFF-4B02-BC60-6DEF19146BE0}" presName="compNode" presStyleCnt="0"/>
      <dgm:spPr/>
    </dgm:pt>
    <dgm:pt modelId="{9C999ADC-98F4-492D-BED9-1668171D29F7}" type="pres">
      <dgm:prSet presAssocID="{10C04C5D-CFFF-4B02-BC60-6DEF19146BE0}" presName="dummyConnPt" presStyleCnt="0"/>
      <dgm:spPr/>
    </dgm:pt>
    <dgm:pt modelId="{A41385AA-5114-43F2-86F5-CB25FDAF6CDF}" type="pres">
      <dgm:prSet presAssocID="{10C04C5D-CFFF-4B02-BC60-6DEF19146BE0}" presName="node" presStyleLbl="node1" presStyleIdx="7" presStyleCnt="15">
        <dgm:presLayoutVars>
          <dgm:bulletEnabled val="1"/>
        </dgm:presLayoutVars>
      </dgm:prSet>
      <dgm:spPr/>
    </dgm:pt>
    <dgm:pt modelId="{6D4F15D9-761E-4247-86A6-3A485AE3F25B}" type="pres">
      <dgm:prSet presAssocID="{E675B0B7-7F29-49B8-903F-CC7EDC839078}" presName="sibTrans" presStyleLbl="bgSibTrans2D1" presStyleIdx="7" presStyleCnt="14"/>
      <dgm:spPr/>
    </dgm:pt>
    <dgm:pt modelId="{38FC7C84-022B-4C4B-8D40-3E36F2A882C6}" type="pres">
      <dgm:prSet presAssocID="{BD34EB56-9536-4A8F-B128-BB9D8D67B87D}" presName="compNode" presStyleCnt="0"/>
      <dgm:spPr/>
    </dgm:pt>
    <dgm:pt modelId="{905847CB-B765-4F54-819A-EA257006BA8D}" type="pres">
      <dgm:prSet presAssocID="{BD34EB56-9536-4A8F-B128-BB9D8D67B87D}" presName="dummyConnPt" presStyleCnt="0"/>
      <dgm:spPr/>
    </dgm:pt>
    <dgm:pt modelId="{CEC35816-23C0-4993-8D92-A3684630B19A}" type="pres">
      <dgm:prSet presAssocID="{BD34EB56-9536-4A8F-B128-BB9D8D67B87D}" presName="node" presStyleLbl="node1" presStyleIdx="8" presStyleCnt="15">
        <dgm:presLayoutVars>
          <dgm:bulletEnabled val="1"/>
        </dgm:presLayoutVars>
      </dgm:prSet>
      <dgm:spPr/>
    </dgm:pt>
    <dgm:pt modelId="{8F2E311F-8D99-41F8-B1BC-8C2DA64BA37E}" type="pres">
      <dgm:prSet presAssocID="{B8F4CB4C-7EEF-4CA8-86AF-8AC9C6CCC207}" presName="sibTrans" presStyleLbl="bgSibTrans2D1" presStyleIdx="8" presStyleCnt="14"/>
      <dgm:spPr/>
    </dgm:pt>
    <dgm:pt modelId="{E11D4C8F-11C1-44F3-A11F-EDB622C3A1B5}" type="pres">
      <dgm:prSet presAssocID="{88C6D400-3D29-4E27-86E2-DF248BEECE2D}" presName="compNode" presStyleCnt="0"/>
      <dgm:spPr/>
    </dgm:pt>
    <dgm:pt modelId="{914DB5E1-D393-410F-AC57-B6FD48A5BBEB}" type="pres">
      <dgm:prSet presAssocID="{88C6D400-3D29-4E27-86E2-DF248BEECE2D}" presName="dummyConnPt" presStyleCnt="0"/>
      <dgm:spPr/>
    </dgm:pt>
    <dgm:pt modelId="{C7478C1E-E1D9-4432-A45D-794E3F3FAA81}" type="pres">
      <dgm:prSet presAssocID="{88C6D400-3D29-4E27-86E2-DF248BEECE2D}" presName="node" presStyleLbl="node1" presStyleIdx="9" presStyleCnt="15">
        <dgm:presLayoutVars>
          <dgm:bulletEnabled val="1"/>
        </dgm:presLayoutVars>
      </dgm:prSet>
      <dgm:spPr/>
    </dgm:pt>
    <dgm:pt modelId="{66F9F999-0659-405F-AC06-FE64C6504665}" type="pres">
      <dgm:prSet presAssocID="{EB229A2E-B26C-4659-9B4C-32C0C651A651}" presName="sibTrans" presStyleLbl="bgSibTrans2D1" presStyleIdx="9" presStyleCnt="14"/>
      <dgm:spPr/>
    </dgm:pt>
    <dgm:pt modelId="{ECD7D0E3-62EA-4A0A-BAC6-A628164BDAF0}" type="pres">
      <dgm:prSet presAssocID="{85E67DBB-C10F-4B38-908E-7EAC3C06A7A7}" presName="compNode" presStyleCnt="0"/>
      <dgm:spPr/>
    </dgm:pt>
    <dgm:pt modelId="{0E7F57E2-ACA8-4811-8CD4-9CB88B0EBC66}" type="pres">
      <dgm:prSet presAssocID="{85E67DBB-C10F-4B38-908E-7EAC3C06A7A7}" presName="dummyConnPt" presStyleCnt="0"/>
      <dgm:spPr/>
    </dgm:pt>
    <dgm:pt modelId="{2F982158-4841-4837-AA3E-14FF628E064E}" type="pres">
      <dgm:prSet presAssocID="{85E67DBB-C10F-4B38-908E-7EAC3C06A7A7}" presName="node" presStyleLbl="node1" presStyleIdx="10" presStyleCnt="15">
        <dgm:presLayoutVars>
          <dgm:bulletEnabled val="1"/>
        </dgm:presLayoutVars>
      </dgm:prSet>
      <dgm:spPr/>
    </dgm:pt>
    <dgm:pt modelId="{5FF386D0-E8C3-4DF5-9295-C8FBAC4B6643}" type="pres">
      <dgm:prSet presAssocID="{3A75BF1A-742B-4A17-AE6E-4DA40E13EDE4}" presName="sibTrans" presStyleLbl="bgSibTrans2D1" presStyleIdx="10" presStyleCnt="14"/>
      <dgm:spPr/>
    </dgm:pt>
    <dgm:pt modelId="{3FCF1A6D-5685-4FDB-B34A-01CB0E59EBC1}" type="pres">
      <dgm:prSet presAssocID="{F506C13C-7494-4309-97CE-8F3F17F4FF2E}" presName="compNode" presStyleCnt="0"/>
      <dgm:spPr/>
    </dgm:pt>
    <dgm:pt modelId="{03DCA51F-7C2B-4886-AE72-92D5F9AC77F0}" type="pres">
      <dgm:prSet presAssocID="{F506C13C-7494-4309-97CE-8F3F17F4FF2E}" presName="dummyConnPt" presStyleCnt="0"/>
      <dgm:spPr/>
    </dgm:pt>
    <dgm:pt modelId="{C6A94245-24E9-4352-84AD-3976EEBEF82E}" type="pres">
      <dgm:prSet presAssocID="{F506C13C-7494-4309-97CE-8F3F17F4FF2E}" presName="node" presStyleLbl="node1" presStyleIdx="11" presStyleCnt="15">
        <dgm:presLayoutVars>
          <dgm:bulletEnabled val="1"/>
        </dgm:presLayoutVars>
      </dgm:prSet>
      <dgm:spPr/>
    </dgm:pt>
    <dgm:pt modelId="{31EFA101-89D3-4F1F-9D24-3D7FCCC33952}" type="pres">
      <dgm:prSet presAssocID="{7C9FA1B5-1D79-47CD-846A-D97F1B206BA6}" presName="sibTrans" presStyleLbl="bgSibTrans2D1" presStyleIdx="11" presStyleCnt="14"/>
      <dgm:spPr/>
    </dgm:pt>
    <dgm:pt modelId="{5FB5EEDB-88E4-46BA-90F2-A33C17D23332}" type="pres">
      <dgm:prSet presAssocID="{A7ED3A79-ECE4-47B3-BEBB-5FD0EB1DDCDA}" presName="compNode" presStyleCnt="0"/>
      <dgm:spPr/>
    </dgm:pt>
    <dgm:pt modelId="{4C4369E2-D6CE-49DB-AFD2-7236E8FC288F}" type="pres">
      <dgm:prSet presAssocID="{A7ED3A79-ECE4-47B3-BEBB-5FD0EB1DDCDA}" presName="dummyConnPt" presStyleCnt="0"/>
      <dgm:spPr/>
    </dgm:pt>
    <dgm:pt modelId="{7B46295D-1C73-4FB2-A2D4-8A5256589DFA}" type="pres">
      <dgm:prSet presAssocID="{A7ED3A79-ECE4-47B3-BEBB-5FD0EB1DDCDA}" presName="node" presStyleLbl="node1" presStyleIdx="12" presStyleCnt="15">
        <dgm:presLayoutVars>
          <dgm:bulletEnabled val="1"/>
        </dgm:presLayoutVars>
      </dgm:prSet>
      <dgm:spPr/>
    </dgm:pt>
    <dgm:pt modelId="{D90A80F3-C9E7-4AC1-81B7-6C076584F633}" type="pres">
      <dgm:prSet presAssocID="{0D4E3D93-5C48-4234-B60C-85DDB5C8EEB0}" presName="sibTrans" presStyleLbl="bgSibTrans2D1" presStyleIdx="12" presStyleCnt="14"/>
      <dgm:spPr/>
    </dgm:pt>
    <dgm:pt modelId="{264A461D-E876-4157-80EC-50C896B777B7}" type="pres">
      <dgm:prSet presAssocID="{3C91CAC9-E3FB-4FC4-9288-6B028DE4DACE}" presName="compNode" presStyleCnt="0"/>
      <dgm:spPr/>
    </dgm:pt>
    <dgm:pt modelId="{55BC4658-5CB9-47A6-9950-5B0488815D4E}" type="pres">
      <dgm:prSet presAssocID="{3C91CAC9-E3FB-4FC4-9288-6B028DE4DACE}" presName="dummyConnPt" presStyleCnt="0"/>
      <dgm:spPr/>
    </dgm:pt>
    <dgm:pt modelId="{FC68EC6C-BD4C-4C05-8EBF-97B5B23139EA}" type="pres">
      <dgm:prSet presAssocID="{3C91CAC9-E3FB-4FC4-9288-6B028DE4DACE}" presName="node" presStyleLbl="node1" presStyleIdx="13" presStyleCnt="15">
        <dgm:presLayoutVars>
          <dgm:bulletEnabled val="1"/>
        </dgm:presLayoutVars>
      </dgm:prSet>
      <dgm:spPr/>
    </dgm:pt>
    <dgm:pt modelId="{9BDD97BD-A788-4920-A8A4-2342E2B17EAF}" type="pres">
      <dgm:prSet presAssocID="{C2D4584F-AC56-4AC2-B8D7-CD477557D536}" presName="sibTrans" presStyleLbl="bgSibTrans2D1" presStyleIdx="13" presStyleCnt="14"/>
      <dgm:spPr/>
    </dgm:pt>
    <dgm:pt modelId="{71D5C9DA-7C31-497F-A627-F32DC47D68FA}" type="pres">
      <dgm:prSet presAssocID="{ACDAE787-498F-4063-8867-85418C2C929A}" presName="compNode" presStyleCnt="0"/>
      <dgm:spPr/>
    </dgm:pt>
    <dgm:pt modelId="{C3F559C8-75AE-494D-8266-EFAFA214703C}" type="pres">
      <dgm:prSet presAssocID="{ACDAE787-498F-4063-8867-85418C2C929A}" presName="dummyConnPt" presStyleCnt="0"/>
      <dgm:spPr/>
    </dgm:pt>
    <dgm:pt modelId="{4C1C5001-3368-49F5-B662-0F2C7F7A55E2}" type="pres">
      <dgm:prSet presAssocID="{ACDAE787-498F-4063-8867-85418C2C929A}" presName="node" presStyleLbl="node1" presStyleIdx="14" presStyleCnt="15">
        <dgm:presLayoutVars>
          <dgm:bulletEnabled val="1"/>
        </dgm:presLayoutVars>
      </dgm:prSet>
      <dgm:spPr/>
    </dgm:pt>
  </dgm:ptLst>
  <dgm:cxnLst>
    <dgm:cxn modelId="{A5B2DC02-F351-4D0B-A671-C75A62BAB5CB}" type="presOf" srcId="{7C9FA1B5-1D79-47CD-846A-D97F1B206BA6}" destId="{31EFA101-89D3-4F1F-9D24-3D7FCCC33952}" srcOrd="0" destOrd="0" presId="urn:microsoft.com/office/officeart/2005/8/layout/bProcess4"/>
    <dgm:cxn modelId="{24C7EC05-D34A-46E0-8FA4-43CD711713D6}" type="presOf" srcId="{542B0046-5F79-4828-B7A6-795964C5B79C}" destId="{32C988AE-6F40-447B-99FF-7B79E602B135}" srcOrd="0" destOrd="0" presId="urn:microsoft.com/office/officeart/2005/8/layout/bProcess4"/>
    <dgm:cxn modelId="{066ECD06-7B50-4FB6-9290-A30EBC5B0972}" type="presOf" srcId="{4575439F-0B13-42CB-BB27-C447DD35F79E}" destId="{6824B68D-B7EC-4FD2-BBF4-FD036D6F82CC}" srcOrd="0" destOrd="0" presId="urn:microsoft.com/office/officeart/2005/8/layout/bProcess4"/>
    <dgm:cxn modelId="{360D130B-C977-4A71-9C4D-283F9AF29A3B}" type="presOf" srcId="{C0679A2A-33DE-423F-AD9A-6A60EB36FB61}" destId="{ECE53AFB-51FA-4707-A40E-731A35FE286B}" srcOrd="0" destOrd="0" presId="urn:microsoft.com/office/officeart/2005/8/layout/bProcess4"/>
    <dgm:cxn modelId="{D6B2D121-90CC-4CC8-A5B0-19D55894809C}" type="presOf" srcId="{3A75BF1A-742B-4A17-AE6E-4DA40E13EDE4}" destId="{5FF386D0-E8C3-4DF5-9295-C8FBAC4B6643}" srcOrd="0" destOrd="0" presId="urn:microsoft.com/office/officeart/2005/8/layout/bProcess4"/>
    <dgm:cxn modelId="{BD52302A-FF7F-4FF4-B63B-73B84EE30983}" type="presOf" srcId="{0BF72E4F-8277-49D7-A156-15BBCD669B4D}" destId="{27C045D3-5A9B-45B3-B98A-A9F11312EF80}" srcOrd="0" destOrd="0" presId="urn:microsoft.com/office/officeart/2005/8/layout/bProcess4"/>
    <dgm:cxn modelId="{DDD50231-60DC-48EE-9E17-0F46242ED187}" type="presOf" srcId="{0D4E3D93-5C48-4234-B60C-85DDB5C8EEB0}" destId="{D90A80F3-C9E7-4AC1-81B7-6C076584F633}" srcOrd="0" destOrd="0" presId="urn:microsoft.com/office/officeart/2005/8/layout/bProcess4"/>
    <dgm:cxn modelId="{1C7DA837-00C3-4B81-9ED0-9632B46DD2E3}" type="presOf" srcId="{BDD75964-C390-4281-8EEB-AFD978B521E9}" destId="{751D34F1-5B10-41ED-9385-2C63F5D0A002}" srcOrd="0" destOrd="0" presId="urn:microsoft.com/office/officeart/2005/8/layout/bProcess4"/>
    <dgm:cxn modelId="{BF04D238-ED30-4AD2-98DA-BE03A29690DC}" type="presOf" srcId="{0A78C7EF-C085-41EE-8EB6-85A39B16DD44}" destId="{CB6B38DD-1D19-4514-A6D5-B98DD23FF534}" srcOrd="0" destOrd="0" presId="urn:microsoft.com/office/officeart/2005/8/layout/bProcess4"/>
    <dgm:cxn modelId="{F6BCF93C-E060-4ECF-B10D-B1C5D81BA376}" srcId="{0A78C7EF-C085-41EE-8EB6-85A39B16DD44}" destId="{F506C13C-7494-4309-97CE-8F3F17F4FF2E}" srcOrd="11" destOrd="0" parTransId="{447E5856-CEE1-4E66-94B8-BFEFDC1395EB}" sibTransId="{7C9FA1B5-1D79-47CD-846A-D97F1B206BA6}"/>
    <dgm:cxn modelId="{5020673F-8D8B-4845-9BEA-5468BDD2BB4C}" type="presOf" srcId="{2CD55B5C-60DB-4E73-BABF-7A71CC886891}" destId="{318318A3-47E8-4916-A8F2-0AC67CCC29E6}" srcOrd="0" destOrd="0" presId="urn:microsoft.com/office/officeart/2005/8/layout/bProcess4"/>
    <dgm:cxn modelId="{00DC2065-D603-4483-AD12-A1F0E1B73CB2}" srcId="{0A78C7EF-C085-41EE-8EB6-85A39B16DD44}" destId="{88C6D400-3D29-4E27-86E2-DF248BEECE2D}" srcOrd="9" destOrd="0" parTransId="{227A9218-E7E0-4884-96FD-65D77E2C3C4D}" sibTransId="{EB229A2E-B26C-4659-9B4C-32C0C651A651}"/>
    <dgm:cxn modelId="{05653D65-E93C-47D8-9C1B-32FB014814A3}" type="presOf" srcId="{88C6D400-3D29-4E27-86E2-DF248BEECE2D}" destId="{C7478C1E-E1D9-4432-A45D-794E3F3FAA81}" srcOrd="0" destOrd="0" presId="urn:microsoft.com/office/officeart/2005/8/layout/bProcess4"/>
    <dgm:cxn modelId="{71E7B165-FAC3-4F05-AD48-B11207980BF3}" type="presOf" srcId="{BD34EB56-9536-4A8F-B128-BB9D8D67B87D}" destId="{CEC35816-23C0-4993-8D92-A3684630B19A}" srcOrd="0" destOrd="0" presId="urn:microsoft.com/office/officeart/2005/8/layout/bProcess4"/>
    <dgm:cxn modelId="{9F59F546-FCBD-4F93-98BF-2523E5774E1F}" type="presOf" srcId="{3C91CAC9-E3FB-4FC4-9288-6B028DE4DACE}" destId="{FC68EC6C-BD4C-4C05-8EBF-97B5B23139EA}" srcOrd="0" destOrd="0" presId="urn:microsoft.com/office/officeart/2005/8/layout/bProcess4"/>
    <dgm:cxn modelId="{86241567-6456-484C-8925-7188FE81E856}" type="presOf" srcId="{10C04C5D-CFFF-4B02-BC60-6DEF19146BE0}" destId="{A41385AA-5114-43F2-86F5-CB25FDAF6CDF}" srcOrd="0" destOrd="0" presId="urn:microsoft.com/office/officeart/2005/8/layout/bProcess4"/>
    <dgm:cxn modelId="{57169C47-9EF7-49C6-AAE7-799598C53E3B}" srcId="{0A78C7EF-C085-41EE-8EB6-85A39B16DD44}" destId="{10C04C5D-CFFF-4B02-BC60-6DEF19146BE0}" srcOrd="7" destOrd="0" parTransId="{57760460-52EB-4886-9807-E156CEC9511E}" sibTransId="{E675B0B7-7F29-49B8-903F-CC7EDC839078}"/>
    <dgm:cxn modelId="{7B8B9569-F050-4F16-AB0E-844B3784BDF9}" type="presOf" srcId="{ACDAE787-498F-4063-8867-85418C2C929A}" destId="{4C1C5001-3368-49F5-B662-0F2C7F7A55E2}" srcOrd="0" destOrd="0" presId="urn:microsoft.com/office/officeart/2005/8/layout/bProcess4"/>
    <dgm:cxn modelId="{37806D6D-4DAC-4E4A-91B8-DD795F91B835}" srcId="{0A78C7EF-C085-41EE-8EB6-85A39B16DD44}" destId="{A7ED3A79-ECE4-47B3-BEBB-5FD0EB1DDCDA}" srcOrd="12" destOrd="0" parTransId="{56354C70-9E80-457D-88FA-B864CE9CF146}" sibTransId="{0D4E3D93-5C48-4234-B60C-85DDB5C8EEB0}"/>
    <dgm:cxn modelId="{5CE00274-70EE-4682-8EDA-486F8D51291A}" srcId="{0A78C7EF-C085-41EE-8EB6-85A39B16DD44}" destId="{BDD75964-C390-4281-8EEB-AFD978B521E9}" srcOrd="5" destOrd="0" parTransId="{BF94BAE7-20C8-4B4A-B671-09932CD49599}" sibTransId="{15A50F24-D8F3-4C33-8DE3-F159A5F3A63B}"/>
    <dgm:cxn modelId="{B39DFE56-EB04-4CEE-88A2-36D9B3D6101E}" srcId="{0A78C7EF-C085-41EE-8EB6-85A39B16DD44}" destId="{0175AF93-3BF9-4B4F-A5FC-CB9BB7A48ECD}" srcOrd="4" destOrd="0" parTransId="{A5A0D6C5-346E-49FA-94D5-C414BA0BB149}" sibTransId="{687560A4-4CCA-4014-A041-FF4E961958F8}"/>
    <dgm:cxn modelId="{12E54E79-7598-45A6-BA87-244C361FAEF1}" type="presOf" srcId="{E675B0B7-7F29-49B8-903F-CC7EDC839078}" destId="{6D4F15D9-761E-4247-86A6-3A485AE3F25B}" srcOrd="0" destOrd="0" presId="urn:microsoft.com/office/officeart/2005/8/layout/bProcess4"/>
    <dgm:cxn modelId="{B77E4E7C-D417-4DA0-8A20-D59BEBA3BB3C}" type="presOf" srcId="{B079D3D3-13E3-4B7C-8349-D7A4C613BCE6}" destId="{B789F261-BC77-4A13-96DF-F4001797014B}" srcOrd="0" destOrd="0" presId="urn:microsoft.com/office/officeart/2005/8/layout/bProcess4"/>
    <dgm:cxn modelId="{925F3B7F-32F1-40B3-B68C-DE5DE74DBB92}" srcId="{0A78C7EF-C085-41EE-8EB6-85A39B16DD44}" destId="{EFCB21AA-473B-43C0-A4E8-05743A7B5760}" srcOrd="6" destOrd="0" parTransId="{04DD269F-C2AE-4C7B-941B-69678CF0AB60}" sibTransId="{2CD55B5C-60DB-4E73-BABF-7A71CC886891}"/>
    <dgm:cxn modelId="{F7ADD48A-1C42-41BD-870C-13E1793B1E7F}" type="presOf" srcId="{EFCB21AA-473B-43C0-A4E8-05743A7B5760}" destId="{61305969-BAF9-4E08-A423-4DE487FA40DF}" srcOrd="0" destOrd="0" presId="urn:microsoft.com/office/officeart/2005/8/layout/bProcess4"/>
    <dgm:cxn modelId="{1F0FB893-ABA0-4661-AA42-CD030A73FC95}" srcId="{0A78C7EF-C085-41EE-8EB6-85A39B16DD44}" destId="{196D467A-3CE9-40AE-B571-D5B34E4E603F}" srcOrd="1" destOrd="0" parTransId="{7384A671-48A4-406E-8C60-EBF4A0342446}" sibTransId="{C0679A2A-33DE-423F-AD9A-6A60EB36FB61}"/>
    <dgm:cxn modelId="{66EB4998-A8F1-49AE-B3B1-4455530E69F1}" srcId="{0A78C7EF-C085-41EE-8EB6-85A39B16DD44}" destId="{BD34EB56-9536-4A8F-B128-BB9D8D67B87D}" srcOrd="8" destOrd="0" parTransId="{14D61580-BC18-4DA0-90CA-66981D62D850}" sibTransId="{B8F4CB4C-7EEF-4CA8-86AF-8AC9C6CCC207}"/>
    <dgm:cxn modelId="{39A8109C-9383-4BE7-B997-D15A0BAFA59D}" type="presOf" srcId="{DD44EA74-117A-472B-877D-3ED14B1D164C}" destId="{04B6F10C-36AC-485D-9341-57EB0F549180}" srcOrd="0" destOrd="0" presId="urn:microsoft.com/office/officeart/2005/8/layout/bProcess4"/>
    <dgm:cxn modelId="{1A884D9F-167F-4E1F-AE67-EDF7417E4805}" type="presOf" srcId="{15A50F24-D8F3-4C33-8DE3-F159A5F3A63B}" destId="{0FCC7A8C-E0F2-4B94-8BD4-FF84C2F2DB5A}" srcOrd="0" destOrd="0" presId="urn:microsoft.com/office/officeart/2005/8/layout/bProcess4"/>
    <dgm:cxn modelId="{C47775AF-ED54-4BB2-A6D4-F3E1FC0F08C9}" type="presOf" srcId="{F35988C2-7A38-441A-8E91-1AC58DB74826}" destId="{42AEE6EA-2C81-4DBD-99A1-D05EC1A66EE6}" srcOrd="0" destOrd="0" presId="urn:microsoft.com/office/officeart/2005/8/layout/bProcess4"/>
    <dgm:cxn modelId="{6009DCB1-D6C1-40BD-8AD0-82793D2A7DC6}" srcId="{0A78C7EF-C085-41EE-8EB6-85A39B16DD44}" destId="{ACDAE787-498F-4063-8867-85418C2C929A}" srcOrd="14" destOrd="0" parTransId="{A3E7E8E4-3D13-4A38-AB78-1313E57F2AE1}" sibTransId="{B08575E6-7CB9-443C-A8B5-72BD75E82F31}"/>
    <dgm:cxn modelId="{8C2EC7B6-AB40-43AF-91BF-DC8502CA49BC}" srcId="{0A78C7EF-C085-41EE-8EB6-85A39B16DD44}" destId="{B079D3D3-13E3-4B7C-8349-D7A4C613BCE6}" srcOrd="0" destOrd="0" parTransId="{C5CBE84A-63DD-4296-885C-C9060B617EC6}" sibTransId="{F35988C2-7A38-441A-8E91-1AC58DB74826}"/>
    <dgm:cxn modelId="{827A0CBF-FC0F-4D79-89A1-81D3310C64FF}" type="presOf" srcId="{A7ED3A79-ECE4-47B3-BEBB-5FD0EB1DDCDA}" destId="{7B46295D-1C73-4FB2-A2D4-8A5256589DFA}" srcOrd="0" destOrd="0" presId="urn:microsoft.com/office/officeart/2005/8/layout/bProcess4"/>
    <dgm:cxn modelId="{E1BB5FC9-A2C1-40CC-B7E6-9B4F1A34F6B9}" type="presOf" srcId="{C2D4584F-AC56-4AC2-B8D7-CD477557D536}" destId="{9BDD97BD-A788-4920-A8A4-2342E2B17EAF}" srcOrd="0" destOrd="0" presId="urn:microsoft.com/office/officeart/2005/8/layout/bProcess4"/>
    <dgm:cxn modelId="{A667A5CA-797D-482E-B024-C45AF9B329A7}" type="presOf" srcId="{196D467A-3CE9-40AE-B571-D5B34E4E603F}" destId="{BA674C85-F1C9-4AC9-84D4-5BEC6FAF818E}" srcOrd="0" destOrd="0" presId="urn:microsoft.com/office/officeart/2005/8/layout/bProcess4"/>
    <dgm:cxn modelId="{0E364ECD-691F-4E04-93B4-62DAB6E65AEA}" type="presOf" srcId="{F506C13C-7494-4309-97CE-8F3F17F4FF2E}" destId="{C6A94245-24E9-4352-84AD-3976EEBEF82E}" srcOrd="0" destOrd="0" presId="urn:microsoft.com/office/officeart/2005/8/layout/bProcess4"/>
    <dgm:cxn modelId="{AC6F7FD5-F177-410F-B8B9-F28B51463626}" srcId="{0A78C7EF-C085-41EE-8EB6-85A39B16DD44}" destId="{85E67DBB-C10F-4B38-908E-7EAC3C06A7A7}" srcOrd="10" destOrd="0" parTransId="{FB7E6326-59A4-40E4-9755-31C211974E2E}" sibTransId="{3A75BF1A-742B-4A17-AE6E-4DA40E13EDE4}"/>
    <dgm:cxn modelId="{3E9C6DD6-5F76-4A08-91E5-73FEAE8A2650}" srcId="{0A78C7EF-C085-41EE-8EB6-85A39B16DD44}" destId="{3C91CAC9-E3FB-4FC4-9288-6B028DE4DACE}" srcOrd="13" destOrd="0" parTransId="{FD22C288-8AE7-4AE0-8D61-8219D886D193}" sibTransId="{C2D4584F-AC56-4AC2-B8D7-CD477557D536}"/>
    <dgm:cxn modelId="{DF06E2DB-A96C-4E91-AF42-191902C1031A}" type="presOf" srcId="{85E67DBB-C10F-4B38-908E-7EAC3C06A7A7}" destId="{2F982158-4841-4837-AA3E-14FF628E064E}" srcOrd="0" destOrd="0" presId="urn:microsoft.com/office/officeart/2005/8/layout/bProcess4"/>
    <dgm:cxn modelId="{15E9E6DF-3BB9-48FC-9F06-F86E9C007F9D}" type="presOf" srcId="{0175AF93-3BF9-4B4F-A5FC-CB9BB7A48ECD}" destId="{A5686584-C952-4FF9-A05D-05783C7C9A1B}" srcOrd="0" destOrd="0" presId="urn:microsoft.com/office/officeart/2005/8/layout/bProcess4"/>
    <dgm:cxn modelId="{73107FE2-3FD5-40D7-8273-2546A6B83926}" srcId="{0A78C7EF-C085-41EE-8EB6-85A39B16DD44}" destId="{DD44EA74-117A-472B-877D-3ED14B1D164C}" srcOrd="2" destOrd="0" parTransId="{7ACE08D2-E826-4882-A9B5-D9D9AE80FEFD}" sibTransId="{542B0046-5F79-4828-B7A6-795964C5B79C}"/>
    <dgm:cxn modelId="{1567CDF1-97FF-4772-A9E4-2AB879F332B5}" type="presOf" srcId="{687560A4-4CCA-4014-A041-FF4E961958F8}" destId="{D53E1A61-DF71-46CE-8C44-A57D2F07E105}" srcOrd="0" destOrd="0" presId="urn:microsoft.com/office/officeart/2005/8/layout/bProcess4"/>
    <dgm:cxn modelId="{FF91DBF5-4ED7-45C8-94CB-BF27A742F864}" type="presOf" srcId="{EB229A2E-B26C-4659-9B4C-32C0C651A651}" destId="{66F9F999-0659-405F-AC06-FE64C6504665}" srcOrd="0" destOrd="0" presId="urn:microsoft.com/office/officeart/2005/8/layout/bProcess4"/>
    <dgm:cxn modelId="{B3A3E2F7-FB1D-4775-BED2-2AC5095B9D6F}" srcId="{0A78C7EF-C085-41EE-8EB6-85A39B16DD44}" destId="{4575439F-0B13-42CB-BB27-C447DD35F79E}" srcOrd="3" destOrd="0" parTransId="{22F3FDF7-AD94-4AC8-A32B-4F3C03703F4B}" sibTransId="{0BF72E4F-8277-49D7-A156-15BBCD669B4D}"/>
    <dgm:cxn modelId="{7A5F1EFC-17A2-4371-940A-EE9C5C8F51B5}" type="presOf" srcId="{B8F4CB4C-7EEF-4CA8-86AF-8AC9C6CCC207}" destId="{8F2E311F-8D99-41F8-B1BC-8C2DA64BA37E}" srcOrd="0" destOrd="0" presId="urn:microsoft.com/office/officeart/2005/8/layout/bProcess4"/>
    <dgm:cxn modelId="{D6B99260-CD7B-4111-A79F-161AA393FFCC}" type="presParOf" srcId="{CB6B38DD-1D19-4514-A6D5-B98DD23FF534}" destId="{9D14E157-0627-4ECB-B6D0-1483D803E3D9}" srcOrd="0" destOrd="0" presId="urn:microsoft.com/office/officeart/2005/8/layout/bProcess4"/>
    <dgm:cxn modelId="{7DC38EE1-D2E5-48E2-9585-92E350DFF2DF}" type="presParOf" srcId="{9D14E157-0627-4ECB-B6D0-1483D803E3D9}" destId="{41E3E337-CAB4-410A-99DE-857D0F8AF9EE}" srcOrd="0" destOrd="0" presId="urn:microsoft.com/office/officeart/2005/8/layout/bProcess4"/>
    <dgm:cxn modelId="{79AC3580-CB27-4B83-B756-F9AFAAF4C68D}" type="presParOf" srcId="{9D14E157-0627-4ECB-B6D0-1483D803E3D9}" destId="{B789F261-BC77-4A13-96DF-F4001797014B}" srcOrd="1" destOrd="0" presId="urn:microsoft.com/office/officeart/2005/8/layout/bProcess4"/>
    <dgm:cxn modelId="{2C80FD22-6696-4D9F-B224-7378E7DD4778}" type="presParOf" srcId="{CB6B38DD-1D19-4514-A6D5-B98DD23FF534}" destId="{42AEE6EA-2C81-4DBD-99A1-D05EC1A66EE6}" srcOrd="1" destOrd="0" presId="urn:microsoft.com/office/officeart/2005/8/layout/bProcess4"/>
    <dgm:cxn modelId="{D2E9F517-2F74-4666-B720-066389BFC08B}" type="presParOf" srcId="{CB6B38DD-1D19-4514-A6D5-B98DD23FF534}" destId="{F0721CC6-D2D8-4876-8F12-EF2C3D617168}" srcOrd="2" destOrd="0" presId="urn:microsoft.com/office/officeart/2005/8/layout/bProcess4"/>
    <dgm:cxn modelId="{6BA7A34D-D570-4DDB-96CE-C9547A42DBAA}" type="presParOf" srcId="{F0721CC6-D2D8-4876-8F12-EF2C3D617168}" destId="{787F3323-201A-4DC5-983C-FF74FAC8D46A}" srcOrd="0" destOrd="0" presId="urn:microsoft.com/office/officeart/2005/8/layout/bProcess4"/>
    <dgm:cxn modelId="{992D1E8C-C5B6-4EB5-9BF4-E800D98AA9CA}" type="presParOf" srcId="{F0721CC6-D2D8-4876-8F12-EF2C3D617168}" destId="{BA674C85-F1C9-4AC9-84D4-5BEC6FAF818E}" srcOrd="1" destOrd="0" presId="urn:microsoft.com/office/officeart/2005/8/layout/bProcess4"/>
    <dgm:cxn modelId="{42D33097-117D-45A5-B353-814838FB3157}" type="presParOf" srcId="{CB6B38DD-1D19-4514-A6D5-B98DD23FF534}" destId="{ECE53AFB-51FA-4707-A40E-731A35FE286B}" srcOrd="3" destOrd="0" presId="urn:microsoft.com/office/officeart/2005/8/layout/bProcess4"/>
    <dgm:cxn modelId="{CB1F5E45-C3E8-4031-92C1-9DA62163E18B}" type="presParOf" srcId="{CB6B38DD-1D19-4514-A6D5-B98DD23FF534}" destId="{1CC6D222-FBA0-4235-9C1C-8CC0D39666DF}" srcOrd="4" destOrd="0" presId="urn:microsoft.com/office/officeart/2005/8/layout/bProcess4"/>
    <dgm:cxn modelId="{02AA2CBB-D871-4B6E-B92C-29D368CBAE36}" type="presParOf" srcId="{1CC6D222-FBA0-4235-9C1C-8CC0D39666DF}" destId="{48AF3559-CA34-4583-B04F-0EB08466AB59}" srcOrd="0" destOrd="0" presId="urn:microsoft.com/office/officeart/2005/8/layout/bProcess4"/>
    <dgm:cxn modelId="{1746B313-7195-429A-AF07-567715743947}" type="presParOf" srcId="{1CC6D222-FBA0-4235-9C1C-8CC0D39666DF}" destId="{04B6F10C-36AC-485D-9341-57EB0F549180}" srcOrd="1" destOrd="0" presId="urn:microsoft.com/office/officeart/2005/8/layout/bProcess4"/>
    <dgm:cxn modelId="{5293B9B9-F803-475F-81C9-EC19AB73776C}" type="presParOf" srcId="{CB6B38DD-1D19-4514-A6D5-B98DD23FF534}" destId="{32C988AE-6F40-447B-99FF-7B79E602B135}" srcOrd="5" destOrd="0" presId="urn:microsoft.com/office/officeart/2005/8/layout/bProcess4"/>
    <dgm:cxn modelId="{B43B38CA-AF99-47CD-A840-CCB2C5A8F4C3}" type="presParOf" srcId="{CB6B38DD-1D19-4514-A6D5-B98DD23FF534}" destId="{0E5289FE-C190-4E1D-A461-286774ABFDAA}" srcOrd="6" destOrd="0" presId="urn:microsoft.com/office/officeart/2005/8/layout/bProcess4"/>
    <dgm:cxn modelId="{F04511F5-F708-47DA-B35B-4ABD1EC45A38}" type="presParOf" srcId="{0E5289FE-C190-4E1D-A461-286774ABFDAA}" destId="{06705B58-5D42-4AB8-B047-2E346007F49E}" srcOrd="0" destOrd="0" presId="urn:microsoft.com/office/officeart/2005/8/layout/bProcess4"/>
    <dgm:cxn modelId="{3314C1ED-C4AC-439D-98CE-028C21E9A823}" type="presParOf" srcId="{0E5289FE-C190-4E1D-A461-286774ABFDAA}" destId="{6824B68D-B7EC-4FD2-BBF4-FD036D6F82CC}" srcOrd="1" destOrd="0" presId="urn:microsoft.com/office/officeart/2005/8/layout/bProcess4"/>
    <dgm:cxn modelId="{53808197-E20F-40C8-BDC9-C189A76019C2}" type="presParOf" srcId="{CB6B38DD-1D19-4514-A6D5-B98DD23FF534}" destId="{27C045D3-5A9B-45B3-B98A-A9F11312EF80}" srcOrd="7" destOrd="0" presId="urn:microsoft.com/office/officeart/2005/8/layout/bProcess4"/>
    <dgm:cxn modelId="{4C9E6EBD-C4E2-4F5F-A1E8-0B852870C8A8}" type="presParOf" srcId="{CB6B38DD-1D19-4514-A6D5-B98DD23FF534}" destId="{0D842A7C-1466-42A6-8663-24F8CFA0B597}" srcOrd="8" destOrd="0" presId="urn:microsoft.com/office/officeart/2005/8/layout/bProcess4"/>
    <dgm:cxn modelId="{56DF50FF-5E87-4D00-A4D2-AC2C7D19D627}" type="presParOf" srcId="{0D842A7C-1466-42A6-8663-24F8CFA0B597}" destId="{131557A4-71CC-4264-87BF-BB20D0032B15}" srcOrd="0" destOrd="0" presId="urn:microsoft.com/office/officeart/2005/8/layout/bProcess4"/>
    <dgm:cxn modelId="{A6D222B6-A3BC-4CB1-B6C3-8269F4DEBC89}" type="presParOf" srcId="{0D842A7C-1466-42A6-8663-24F8CFA0B597}" destId="{A5686584-C952-4FF9-A05D-05783C7C9A1B}" srcOrd="1" destOrd="0" presId="urn:microsoft.com/office/officeart/2005/8/layout/bProcess4"/>
    <dgm:cxn modelId="{208FD5ED-9CC2-476A-85C6-512E86BA73B8}" type="presParOf" srcId="{CB6B38DD-1D19-4514-A6D5-B98DD23FF534}" destId="{D53E1A61-DF71-46CE-8C44-A57D2F07E105}" srcOrd="9" destOrd="0" presId="urn:microsoft.com/office/officeart/2005/8/layout/bProcess4"/>
    <dgm:cxn modelId="{4ADF4867-833D-4E86-8E8A-CD6A6F8C6825}" type="presParOf" srcId="{CB6B38DD-1D19-4514-A6D5-B98DD23FF534}" destId="{75F8A44D-3E7F-4997-950D-ADA45C8F3227}" srcOrd="10" destOrd="0" presId="urn:microsoft.com/office/officeart/2005/8/layout/bProcess4"/>
    <dgm:cxn modelId="{EAEB4B8C-C8CE-4722-8738-3231A8954D7A}" type="presParOf" srcId="{75F8A44D-3E7F-4997-950D-ADA45C8F3227}" destId="{F14E16AB-4C2C-41A9-B1B4-3F8BEC14BFDA}" srcOrd="0" destOrd="0" presId="urn:microsoft.com/office/officeart/2005/8/layout/bProcess4"/>
    <dgm:cxn modelId="{9011BAFB-2C0D-4B5E-8B1E-91553D26114C}" type="presParOf" srcId="{75F8A44D-3E7F-4997-950D-ADA45C8F3227}" destId="{751D34F1-5B10-41ED-9385-2C63F5D0A002}" srcOrd="1" destOrd="0" presId="urn:microsoft.com/office/officeart/2005/8/layout/bProcess4"/>
    <dgm:cxn modelId="{C7561FB3-EECC-4FA3-86C0-BF6AFC0D9D80}" type="presParOf" srcId="{CB6B38DD-1D19-4514-A6D5-B98DD23FF534}" destId="{0FCC7A8C-E0F2-4B94-8BD4-FF84C2F2DB5A}" srcOrd="11" destOrd="0" presId="urn:microsoft.com/office/officeart/2005/8/layout/bProcess4"/>
    <dgm:cxn modelId="{AF47C088-DA29-4AAB-B073-07F78B8227CA}" type="presParOf" srcId="{CB6B38DD-1D19-4514-A6D5-B98DD23FF534}" destId="{F59E5F49-12CF-4027-8358-50881750246D}" srcOrd="12" destOrd="0" presId="urn:microsoft.com/office/officeart/2005/8/layout/bProcess4"/>
    <dgm:cxn modelId="{9687D82D-7280-40F6-BBD1-2D7D73E6B7D4}" type="presParOf" srcId="{F59E5F49-12CF-4027-8358-50881750246D}" destId="{25989B9C-A433-458F-8B8C-7A008D9B2E7F}" srcOrd="0" destOrd="0" presId="urn:microsoft.com/office/officeart/2005/8/layout/bProcess4"/>
    <dgm:cxn modelId="{B7202756-AE67-4429-AB97-37ADB96A88CF}" type="presParOf" srcId="{F59E5F49-12CF-4027-8358-50881750246D}" destId="{61305969-BAF9-4E08-A423-4DE487FA40DF}" srcOrd="1" destOrd="0" presId="urn:microsoft.com/office/officeart/2005/8/layout/bProcess4"/>
    <dgm:cxn modelId="{15DA58F8-B428-456E-B4C6-EC651DE9A649}" type="presParOf" srcId="{CB6B38DD-1D19-4514-A6D5-B98DD23FF534}" destId="{318318A3-47E8-4916-A8F2-0AC67CCC29E6}" srcOrd="13" destOrd="0" presId="urn:microsoft.com/office/officeart/2005/8/layout/bProcess4"/>
    <dgm:cxn modelId="{DF1A285E-9996-496D-971B-46F211711DD1}" type="presParOf" srcId="{CB6B38DD-1D19-4514-A6D5-B98DD23FF534}" destId="{2676BFAE-DC5C-4F79-8E20-5BC2EBBC492E}" srcOrd="14" destOrd="0" presId="urn:microsoft.com/office/officeart/2005/8/layout/bProcess4"/>
    <dgm:cxn modelId="{F6F534D4-22DC-40F7-BD75-3A8B506F9A55}" type="presParOf" srcId="{2676BFAE-DC5C-4F79-8E20-5BC2EBBC492E}" destId="{9C999ADC-98F4-492D-BED9-1668171D29F7}" srcOrd="0" destOrd="0" presId="urn:microsoft.com/office/officeart/2005/8/layout/bProcess4"/>
    <dgm:cxn modelId="{0EFE0CE6-4F61-4A40-8A1B-A03B9C6BE0C7}" type="presParOf" srcId="{2676BFAE-DC5C-4F79-8E20-5BC2EBBC492E}" destId="{A41385AA-5114-43F2-86F5-CB25FDAF6CDF}" srcOrd="1" destOrd="0" presId="urn:microsoft.com/office/officeart/2005/8/layout/bProcess4"/>
    <dgm:cxn modelId="{43418FC1-20A0-452D-A221-A3BCC3957117}" type="presParOf" srcId="{CB6B38DD-1D19-4514-A6D5-B98DD23FF534}" destId="{6D4F15D9-761E-4247-86A6-3A485AE3F25B}" srcOrd="15" destOrd="0" presId="urn:microsoft.com/office/officeart/2005/8/layout/bProcess4"/>
    <dgm:cxn modelId="{8BD746DC-0E1B-451D-8E5F-4CDF9C06A7A8}" type="presParOf" srcId="{CB6B38DD-1D19-4514-A6D5-B98DD23FF534}" destId="{38FC7C84-022B-4C4B-8D40-3E36F2A882C6}" srcOrd="16" destOrd="0" presId="urn:microsoft.com/office/officeart/2005/8/layout/bProcess4"/>
    <dgm:cxn modelId="{BB3710FE-2DD0-48A1-B512-631AAA83E93C}" type="presParOf" srcId="{38FC7C84-022B-4C4B-8D40-3E36F2A882C6}" destId="{905847CB-B765-4F54-819A-EA257006BA8D}" srcOrd="0" destOrd="0" presId="urn:microsoft.com/office/officeart/2005/8/layout/bProcess4"/>
    <dgm:cxn modelId="{B6467B90-41A6-4C6A-8F11-63763F5F217E}" type="presParOf" srcId="{38FC7C84-022B-4C4B-8D40-3E36F2A882C6}" destId="{CEC35816-23C0-4993-8D92-A3684630B19A}" srcOrd="1" destOrd="0" presId="urn:microsoft.com/office/officeart/2005/8/layout/bProcess4"/>
    <dgm:cxn modelId="{53AEF359-9BCE-4E9C-B9BA-E00A1706C61F}" type="presParOf" srcId="{CB6B38DD-1D19-4514-A6D5-B98DD23FF534}" destId="{8F2E311F-8D99-41F8-B1BC-8C2DA64BA37E}" srcOrd="17" destOrd="0" presId="urn:microsoft.com/office/officeart/2005/8/layout/bProcess4"/>
    <dgm:cxn modelId="{9F34BF49-0693-4729-A3AE-4FEEFA2FF48A}" type="presParOf" srcId="{CB6B38DD-1D19-4514-A6D5-B98DD23FF534}" destId="{E11D4C8F-11C1-44F3-A11F-EDB622C3A1B5}" srcOrd="18" destOrd="0" presId="urn:microsoft.com/office/officeart/2005/8/layout/bProcess4"/>
    <dgm:cxn modelId="{CD10E496-0015-4C82-9C08-8F20B18F40C8}" type="presParOf" srcId="{E11D4C8F-11C1-44F3-A11F-EDB622C3A1B5}" destId="{914DB5E1-D393-410F-AC57-B6FD48A5BBEB}" srcOrd="0" destOrd="0" presId="urn:microsoft.com/office/officeart/2005/8/layout/bProcess4"/>
    <dgm:cxn modelId="{02AE6F6F-6139-4258-8089-E31854EB8E7C}" type="presParOf" srcId="{E11D4C8F-11C1-44F3-A11F-EDB622C3A1B5}" destId="{C7478C1E-E1D9-4432-A45D-794E3F3FAA81}" srcOrd="1" destOrd="0" presId="urn:microsoft.com/office/officeart/2005/8/layout/bProcess4"/>
    <dgm:cxn modelId="{F933972C-D502-4FAA-B1E5-701327894DDC}" type="presParOf" srcId="{CB6B38DD-1D19-4514-A6D5-B98DD23FF534}" destId="{66F9F999-0659-405F-AC06-FE64C6504665}" srcOrd="19" destOrd="0" presId="urn:microsoft.com/office/officeart/2005/8/layout/bProcess4"/>
    <dgm:cxn modelId="{6428D8D3-4E03-461B-B30D-C1979D113D6C}" type="presParOf" srcId="{CB6B38DD-1D19-4514-A6D5-B98DD23FF534}" destId="{ECD7D0E3-62EA-4A0A-BAC6-A628164BDAF0}" srcOrd="20" destOrd="0" presId="urn:microsoft.com/office/officeart/2005/8/layout/bProcess4"/>
    <dgm:cxn modelId="{48E7A464-CCD7-460D-A9BB-287FDDC66DFB}" type="presParOf" srcId="{ECD7D0E3-62EA-4A0A-BAC6-A628164BDAF0}" destId="{0E7F57E2-ACA8-4811-8CD4-9CB88B0EBC66}" srcOrd="0" destOrd="0" presId="urn:microsoft.com/office/officeart/2005/8/layout/bProcess4"/>
    <dgm:cxn modelId="{F3229D3A-8EC9-4811-BD47-3038C912D9D4}" type="presParOf" srcId="{ECD7D0E3-62EA-4A0A-BAC6-A628164BDAF0}" destId="{2F982158-4841-4837-AA3E-14FF628E064E}" srcOrd="1" destOrd="0" presId="urn:microsoft.com/office/officeart/2005/8/layout/bProcess4"/>
    <dgm:cxn modelId="{970D78A9-A980-4DF4-9B8F-395AA537737A}" type="presParOf" srcId="{CB6B38DD-1D19-4514-A6D5-B98DD23FF534}" destId="{5FF386D0-E8C3-4DF5-9295-C8FBAC4B6643}" srcOrd="21" destOrd="0" presId="urn:microsoft.com/office/officeart/2005/8/layout/bProcess4"/>
    <dgm:cxn modelId="{62CB209A-B601-4F91-A27A-BC9EEF223D5C}" type="presParOf" srcId="{CB6B38DD-1D19-4514-A6D5-B98DD23FF534}" destId="{3FCF1A6D-5685-4FDB-B34A-01CB0E59EBC1}" srcOrd="22" destOrd="0" presId="urn:microsoft.com/office/officeart/2005/8/layout/bProcess4"/>
    <dgm:cxn modelId="{0951A988-111A-4825-BD59-004FB9E14EAA}" type="presParOf" srcId="{3FCF1A6D-5685-4FDB-B34A-01CB0E59EBC1}" destId="{03DCA51F-7C2B-4886-AE72-92D5F9AC77F0}" srcOrd="0" destOrd="0" presId="urn:microsoft.com/office/officeart/2005/8/layout/bProcess4"/>
    <dgm:cxn modelId="{B163E7DB-88C3-46E6-9C21-404D25237909}" type="presParOf" srcId="{3FCF1A6D-5685-4FDB-B34A-01CB0E59EBC1}" destId="{C6A94245-24E9-4352-84AD-3976EEBEF82E}" srcOrd="1" destOrd="0" presId="urn:microsoft.com/office/officeart/2005/8/layout/bProcess4"/>
    <dgm:cxn modelId="{C64FD953-38FB-4BDF-A30B-D9CEC7630DEF}" type="presParOf" srcId="{CB6B38DD-1D19-4514-A6D5-B98DD23FF534}" destId="{31EFA101-89D3-4F1F-9D24-3D7FCCC33952}" srcOrd="23" destOrd="0" presId="urn:microsoft.com/office/officeart/2005/8/layout/bProcess4"/>
    <dgm:cxn modelId="{4B4C1109-B84A-4410-94AA-95E1F6401A5A}" type="presParOf" srcId="{CB6B38DD-1D19-4514-A6D5-B98DD23FF534}" destId="{5FB5EEDB-88E4-46BA-90F2-A33C17D23332}" srcOrd="24" destOrd="0" presId="urn:microsoft.com/office/officeart/2005/8/layout/bProcess4"/>
    <dgm:cxn modelId="{876804BB-DC83-4854-BBCB-17294EE07FCA}" type="presParOf" srcId="{5FB5EEDB-88E4-46BA-90F2-A33C17D23332}" destId="{4C4369E2-D6CE-49DB-AFD2-7236E8FC288F}" srcOrd="0" destOrd="0" presId="urn:microsoft.com/office/officeart/2005/8/layout/bProcess4"/>
    <dgm:cxn modelId="{87ACEA06-3976-4495-9473-3FFAC91FD340}" type="presParOf" srcId="{5FB5EEDB-88E4-46BA-90F2-A33C17D23332}" destId="{7B46295D-1C73-4FB2-A2D4-8A5256589DFA}" srcOrd="1" destOrd="0" presId="urn:microsoft.com/office/officeart/2005/8/layout/bProcess4"/>
    <dgm:cxn modelId="{67CE259C-47CB-4D4B-AA6D-772407B426E0}" type="presParOf" srcId="{CB6B38DD-1D19-4514-A6D5-B98DD23FF534}" destId="{D90A80F3-C9E7-4AC1-81B7-6C076584F633}" srcOrd="25" destOrd="0" presId="urn:microsoft.com/office/officeart/2005/8/layout/bProcess4"/>
    <dgm:cxn modelId="{CF836BCB-9385-433E-A6D4-B6FE5C3EE9F0}" type="presParOf" srcId="{CB6B38DD-1D19-4514-A6D5-B98DD23FF534}" destId="{264A461D-E876-4157-80EC-50C896B777B7}" srcOrd="26" destOrd="0" presId="urn:microsoft.com/office/officeart/2005/8/layout/bProcess4"/>
    <dgm:cxn modelId="{1F70741B-34DB-40F9-893B-3D1C6AB5204F}" type="presParOf" srcId="{264A461D-E876-4157-80EC-50C896B777B7}" destId="{55BC4658-5CB9-47A6-9950-5B0488815D4E}" srcOrd="0" destOrd="0" presId="urn:microsoft.com/office/officeart/2005/8/layout/bProcess4"/>
    <dgm:cxn modelId="{C33E08DB-44B1-4D9C-ABBE-97DFE229EB51}" type="presParOf" srcId="{264A461D-E876-4157-80EC-50C896B777B7}" destId="{FC68EC6C-BD4C-4C05-8EBF-97B5B23139EA}" srcOrd="1" destOrd="0" presId="urn:microsoft.com/office/officeart/2005/8/layout/bProcess4"/>
    <dgm:cxn modelId="{971ED89D-363C-462E-9CC5-B50173DFEE4B}" type="presParOf" srcId="{CB6B38DD-1D19-4514-A6D5-B98DD23FF534}" destId="{9BDD97BD-A788-4920-A8A4-2342E2B17EAF}" srcOrd="27" destOrd="0" presId="urn:microsoft.com/office/officeart/2005/8/layout/bProcess4"/>
    <dgm:cxn modelId="{7143C3CC-85E4-4BC1-97C8-410948712557}" type="presParOf" srcId="{CB6B38DD-1D19-4514-A6D5-B98DD23FF534}" destId="{71D5C9DA-7C31-497F-A627-F32DC47D68FA}" srcOrd="28" destOrd="0" presId="urn:microsoft.com/office/officeart/2005/8/layout/bProcess4"/>
    <dgm:cxn modelId="{089A4D89-58CF-41C6-AE71-0BFD34CDF81C}" type="presParOf" srcId="{71D5C9DA-7C31-497F-A627-F32DC47D68FA}" destId="{C3F559C8-75AE-494D-8266-EFAFA214703C}" srcOrd="0" destOrd="0" presId="urn:microsoft.com/office/officeart/2005/8/layout/bProcess4"/>
    <dgm:cxn modelId="{BAE5E44C-A684-4AC1-B545-7A08E060EA52}" type="presParOf" srcId="{71D5C9DA-7C31-497F-A627-F32DC47D68FA}" destId="{4C1C5001-3368-49F5-B662-0F2C7F7A55E2}"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EEBCB12-78BB-4DCE-83DC-0047EE7A9726}" type="doc">
      <dgm:prSet loTypeId="urn:microsoft.com/office/officeart/2005/8/layout/hList9" loCatId="list" qsTypeId="urn:microsoft.com/office/officeart/2005/8/quickstyle/simple1" qsCatId="simple" csTypeId="urn:microsoft.com/office/officeart/2005/8/colors/colorful1" csCatId="colorful" phldr="1"/>
      <dgm:spPr/>
      <dgm:t>
        <a:bodyPr/>
        <a:lstStyle/>
        <a:p>
          <a:endParaRPr lang="de-DE"/>
        </a:p>
      </dgm:t>
    </dgm:pt>
    <dgm:pt modelId="{BF22457B-EFC1-4DB9-8F08-D3686E00F82A}">
      <dgm:prSet phldrT="[Text]" custT="1"/>
      <dgm:spPr/>
      <dgm:t>
        <a:bodyPr/>
        <a:lstStyle/>
        <a:p>
          <a:r>
            <a:rPr lang="pl-PL" sz="1000" b="1" dirty="0"/>
            <a:t>IT services </a:t>
          </a:r>
          <a:endParaRPr lang="de-DE" sz="1000" b="1" dirty="0"/>
        </a:p>
      </dgm:t>
    </dgm:pt>
    <dgm:pt modelId="{F8979833-FA1B-40CA-9C10-B6D5B9FD9A1F}" type="parTrans" cxnId="{E8A20093-E3D7-4750-9A46-3D594ACAA4B3}">
      <dgm:prSet/>
      <dgm:spPr/>
      <dgm:t>
        <a:bodyPr/>
        <a:lstStyle/>
        <a:p>
          <a:endParaRPr lang="de-DE"/>
        </a:p>
      </dgm:t>
    </dgm:pt>
    <dgm:pt modelId="{4329DC24-E6BA-425D-805B-0E1CE806CEB1}" type="sibTrans" cxnId="{E8A20093-E3D7-4750-9A46-3D594ACAA4B3}">
      <dgm:prSet/>
      <dgm:spPr/>
      <dgm:t>
        <a:bodyPr/>
        <a:lstStyle/>
        <a:p>
          <a:endParaRPr lang="de-DE"/>
        </a:p>
      </dgm:t>
    </dgm:pt>
    <dgm:pt modelId="{00DBE684-7BEC-4B25-BBA0-CCA1F809DEC4}">
      <dgm:prSet phldrT="[Text]" custT="1"/>
      <dgm:spPr/>
      <dgm:t>
        <a:bodyPr/>
        <a:lstStyle/>
        <a:p>
          <a:pPr>
            <a:buFont typeface="Wingdings" panose="05000000000000000000" pitchFamily="2" charset="2"/>
            <a:buChar char="§"/>
          </a:pPr>
          <a:r>
            <a:rPr lang="pl-PL" sz="1000" dirty="0"/>
            <a:t>Hosted on equipment owned by private organization within data centers belonging to the company</a:t>
          </a:r>
          <a:endParaRPr lang="de-DE" sz="1000" dirty="0"/>
        </a:p>
      </dgm:t>
    </dgm:pt>
    <dgm:pt modelId="{75BC0C8A-088D-4D17-B30B-CC964E547B39}" type="parTrans" cxnId="{65A46BD2-3C1D-42A8-BA30-C4445DB5DB7D}">
      <dgm:prSet/>
      <dgm:spPr/>
      <dgm:t>
        <a:bodyPr/>
        <a:lstStyle/>
        <a:p>
          <a:endParaRPr lang="de-DE"/>
        </a:p>
      </dgm:t>
    </dgm:pt>
    <dgm:pt modelId="{95F8E611-790C-48AB-9D64-677E89073F4A}" type="sibTrans" cxnId="{65A46BD2-3C1D-42A8-BA30-C4445DB5DB7D}">
      <dgm:prSet/>
      <dgm:spPr/>
      <dgm:t>
        <a:bodyPr/>
        <a:lstStyle/>
        <a:p>
          <a:endParaRPr lang="de-DE"/>
        </a:p>
      </dgm:t>
    </dgm:pt>
    <dgm:pt modelId="{4357F995-180C-48BB-A110-192840B5F4C6}">
      <dgm:prSet phldrT="[Text]" custT="1"/>
      <dgm:spPr/>
      <dgm:t>
        <a:bodyPr/>
        <a:lstStyle/>
        <a:p>
          <a:r>
            <a:rPr lang="pl-PL" sz="1000" b="1" dirty="0"/>
            <a:t>Responsi-bilities</a:t>
          </a:r>
          <a:endParaRPr lang="de-DE" sz="1000" b="1" dirty="0"/>
        </a:p>
      </dgm:t>
    </dgm:pt>
    <dgm:pt modelId="{A1A8BBC4-C4A6-4DC0-9A3D-3BB5A19CE7D0}" type="parTrans" cxnId="{09C75F05-2279-4E63-AA9D-5092534DF64E}">
      <dgm:prSet/>
      <dgm:spPr/>
      <dgm:t>
        <a:bodyPr/>
        <a:lstStyle/>
        <a:p>
          <a:endParaRPr lang="de-DE"/>
        </a:p>
      </dgm:t>
    </dgm:pt>
    <dgm:pt modelId="{D5F5701F-B121-4FF3-BC15-59E55E41F7F6}" type="sibTrans" cxnId="{09C75F05-2279-4E63-AA9D-5092534DF64E}">
      <dgm:prSet/>
      <dgm:spPr/>
      <dgm:t>
        <a:bodyPr/>
        <a:lstStyle/>
        <a:p>
          <a:endParaRPr lang="de-DE"/>
        </a:p>
      </dgm:t>
    </dgm:pt>
    <dgm:pt modelId="{823D24F7-023E-497B-925B-A96AAD509B47}">
      <dgm:prSet phldrT="[Text]" custT="1"/>
      <dgm:spPr/>
      <dgm:t>
        <a:bodyPr/>
        <a:lstStyle/>
        <a:p>
          <a:pPr>
            <a:buFont typeface="Wingdings" panose="05000000000000000000" pitchFamily="2" charset="2"/>
            <a:buChar char="§"/>
          </a:pPr>
          <a:r>
            <a:rPr lang="pl-PL" sz="1000"/>
            <a:t>Hardware</a:t>
          </a:r>
          <a:endParaRPr lang="de-DE" sz="1000" dirty="0"/>
        </a:p>
      </dgm:t>
    </dgm:pt>
    <dgm:pt modelId="{41738CE9-72D9-4D10-8652-733139D9F23C}" type="parTrans" cxnId="{E152C0EF-CC7B-490B-B6A9-85FE4241D1BA}">
      <dgm:prSet/>
      <dgm:spPr/>
      <dgm:t>
        <a:bodyPr/>
        <a:lstStyle/>
        <a:p>
          <a:endParaRPr lang="de-DE"/>
        </a:p>
      </dgm:t>
    </dgm:pt>
    <dgm:pt modelId="{5B240835-D7EA-4EF4-8090-7A55FED8624C}" type="sibTrans" cxnId="{E152C0EF-CC7B-490B-B6A9-85FE4241D1BA}">
      <dgm:prSet/>
      <dgm:spPr/>
      <dgm:t>
        <a:bodyPr/>
        <a:lstStyle/>
        <a:p>
          <a:endParaRPr lang="de-DE"/>
        </a:p>
      </dgm:t>
    </dgm:pt>
    <dgm:pt modelId="{45A9BB93-0328-427B-A81F-26D495AC33B4}">
      <dgm:prSet phldrT="[Text]" custT="1"/>
      <dgm:spPr/>
      <dgm:t>
        <a:bodyPr/>
        <a:lstStyle/>
        <a:p>
          <a:r>
            <a:rPr lang="pl-PL" sz="1000" b="1" dirty="0"/>
            <a:t>Full control</a:t>
          </a:r>
          <a:endParaRPr lang="de-DE" sz="1000" b="1" dirty="0"/>
        </a:p>
      </dgm:t>
    </dgm:pt>
    <dgm:pt modelId="{B5FAD21B-AAF6-43BD-8C1E-AB5A035CE828}" type="parTrans" cxnId="{A97BA687-421F-4638-A2D3-D7EB2D025749}">
      <dgm:prSet/>
      <dgm:spPr/>
      <dgm:t>
        <a:bodyPr/>
        <a:lstStyle/>
        <a:p>
          <a:endParaRPr lang="de-DE"/>
        </a:p>
      </dgm:t>
    </dgm:pt>
    <dgm:pt modelId="{07F6F816-F2A4-45B2-9D65-C65AE3DE417B}" type="sibTrans" cxnId="{A97BA687-421F-4638-A2D3-D7EB2D025749}">
      <dgm:prSet/>
      <dgm:spPr/>
      <dgm:t>
        <a:bodyPr/>
        <a:lstStyle/>
        <a:p>
          <a:endParaRPr lang="de-DE"/>
        </a:p>
      </dgm:t>
    </dgm:pt>
    <dgm:pt modelId="{C990EB0D-F7F0-4618-BB7D-9CB0616794BD}">
      <dgm:prSet custT="1"/>
      <dgm:spPr/>
      <dgm:t>
        <a:bodyPr/>
        <a:lstStyle/>
        <a:p>
          <a:pPr>
            <a:buFont typeface="Wingdings" panose="05000000000000000000" pitchFamily="2" charset="2"/>
            <a:buChar char="§"/>
          </a:pPr>
          <a:r>
            <a:rPr lang="pl-PL" sz="1000" dirty="0"/>
            <a:t>Delivered over a network</a:t>
          </a:r>
        </a:p>
      </dgm:t>
    </dgm:pt>
    <dgm:pt modelId="{C264CC68-CE5B-4F48-8AD5-A737BCE77985}" type="parTrans" cxnId="{93BCC531-5276-424A-B597-A2ABF22AFBA9}">
      <dgm:prSet/>
      <dgm:spPr/>
      <dgm:t>
        <a:bodyPr/>
        <a:lstStyle/>
        <a:p>
          <a:endParaRPr lang="de-DE"/>
        </a:p>
      </dgm:t>
    </dgm:pt>
    <dgm:pt modelId="{D12E0D7D-25D6-4D6C-85D3-6C1747B9447D}" type="sibTrans" cxnId="{93BCC531-5276-424A-B597-A2ABF22AFBA9}">
      <dgm:prSet/>
      <dgm:spPr/>
      <dgm:t>
        <a:bodyPr/>
        <a:lstStyle/>
        <a:p>
          <a:endParaRPr lang="de-DE"/>
        </a:p>
      </dgm:t>
    </dgm:pt>
    <dgm:pt modelId="{EEAE13D9-6058-47CB-80C1-06ECF810A40A}">
      <dgm:prSet custT="1"/>
      <dgm:spPr/>
      <dgm:t>
        <a:bodyPr/>
        <a:lstStyle/>
        <a:p>
          <a:pPr>
            <a:buFont typeface="Wingdings" panose="05000000000000000000" pitchFamily="2" charset="2"/>
            <a:buChar char="§"/>
          </a:pPr>
          <a:r>
            <a:rPr lang="pl-PL" sz="1000" dirty="0"/>
            <a:t>Available only to users within the organization</a:t>
          </a:r>
          <a:endParaRPr lang="de-DE" sz="1000" dirty="0"/>
        </a:p>
      </dgm:t>
    </dgm:pt>
    <dgm:pt modelId="{E5040F9B-9E0F-4A6A-8917-08CD83E15C8E}" type="parTrans" cxnId="{9331FE8B-9AF8-468A-98FF-0FF5E8A86976}">
      <dgm:prSet/>
      <dgm:spPr/>
      <dgm:t>
        <a:bodyPr/>
        <a:lstStyle/>
        <a:p>
          <a:endParaRPr lang="de-DE"/>
        </a:p>
      </dgm:t>
    </dgm:pt>
    <dgm:pt modelId="{08F68C0D-2725-4C18-B5BE-90780135EEEB}" type="sibTrans" cxnId="{9331FE8B-9AF8-468A-98FF-0FF5E8A86976}">
      <dgm:prSet/>
      <dgm:spPr/>
      <dgm:t>
        <a:bodyPr/>
        <a:lstStyle/>
        <a:p>
          <a:endParaRPr lang="de-DE"/>
        </a:p>
      </dgm:t>
    </dgm:pt>
    <dgm:pt modelId="{109FD917-7FD7-45A1-A349-F306B7EA9D45}">
      <dgm:prSet custT="1"/>
      <dgm:spPr/>
      <dgm:t>
        <a:bodyPr/>
        <a:lstStyle/>
        <a:p>
          <a:r>
            <a:rPr lang="pl-PL" sz="1000"/>
            <a:t>Software</a:t>
          </a:r>
          <a:endParaRPr lang="pl-PL" sz="1000" dirty="0"/>
        </a:p>
      </dgm:t>
    </dgm:pt>
    <dgm:pt modelId="{01E287B3-A035-4439-909B-AB2A1565BCFF}" type="parTrans" cxnId="{8AEE658D-88F0-4E6A-ABB7-7444FDBF172F}">
      <dgm:prSet/>
      <dgm:spPr/>
      <dgm:t>
        <a:bodyPr/>
        <a:lstStyle/>
        <a:p>
          <a:endParaRPr lang="de-DE"/>
        </a:p>
      </dgm:t>
    </dgm:pt>
    <dgm:pt modelId="{65D8304D-2FFE-402B-9E98-21B8E0EA8878}" type="sibTrans" cxnId="{8AEE658D-88F0-4E6A-ABB7-7444FDBF172F}">
      <dgm:prSet/>
      <dgm:spPr/>
      <dgm:t>
        <a:bodyPr/>
        <a:lstStyle/>
        <a:p>
          <a:endParaRPr lang="de-DE"/>
        </a:p>
      </dgm:t>
    </dgm:pt>
    <dgm:pt modelId="{154F0B97-8E2B-475B-9E1C-D77C4B0C4570}">
      <dgm:prSet custT="1"/>
      <dgm:spPr/>
      <dgm:t>
        <a:bodyPr/>
        <a:lstStyle/>
        <a:p>
          <a:r>
            <a:rPr lang="pl-PL" sz="1000" dirty="0"/>
            <a:t>Licenses</a:t>
          </a:r>
        </a:p>
      </dgm:t>
    </dgm:pt>
    <dgm:pt modelId="{DFDCEDD7-EFFA-439F-A0D4-1C8E7BD6D2D7}" type="parTrans" cxnId="{B9EA0726-C7B5-4BC8-892A-2B1CD7B54D03}">
      <dgm:prSet/>
      <dgm:spPr/>
      <dgm:t>
        <a:bodyPr/>
        <a:lstStyle/>
        <a:p>
          <a:endParaRPr lang="de-DE"/>
        </a:p>
      </dgm:t>
    </dgm:pt>
    <dgm:pt modelId="{57DB886F-7837-4062-BDA3-D2B18F29FA92}" type="sibTrans" cxnId="{B9EA0726-C7B5-4BC8-892A-2B1CD7B54D03}">
      <dgm:prSet/>
      <dgm:spPr/>
      <dgm:t>
        <a:bodyPr/>
        <a:lstStyle/>
        <a:p>
          <a:endParaRPr lang="de-DE"/>
        </a:p>
      </dgm:t>
    </dgm:pt>
    <dgm:pt modelId="{49B4A9BE-524A-4E52-AF31-FD7FDD1A35C1}">
      <dgm:prSet custT="1"/>
      <dgm:spPr/>
      <dgm:t>
        <a:bodyPr/>
        <a:lstStyle/>
        <a:p>
          <a:r>
            <a:rPr lang="pl-PL" sz="1000"/>
            <a:t>Installation, configuration, patching, troubleshooting</a:t>
          </a:r>
          <a:endParaRPr lang="pl-PL" sz="1000" dirty="0"/>
        </a:p>
      </dgm:t>
    </dgm:pt>
    <dgm:pt modelId="{56AE2CF4-21D7-4BE3-A0B2-C158816DFDAD}" type="parTrans" cxnId="{8BD7E559-6E9A-47C5-AC51-C20CFD3C9499}">
      <dgm:prSet/>
      <dgm:spPr/>
      <dgm:t>
        <a:bodyPr/>
        <a:lstStyle/>
        <a:p>
          <a:endParaRPr lang="de-DE"/>
        </a:p>
      </dgm:t>
    </dgm:pt>
    <dgm:pt modelId="{6EDF52D3-B74C-4E0F-A906-ED37D051E30B}" type="sibTrans" cxnId="{8BD7E559-6E9A-47C5-AC51-C20CFD3C9499}">
      <dgm:prSet/>
      <dgm:spPr/>
      <dgm:t>
        <a:bodyPr/>
        <a:lstStyle/>
        <a:p>
          <a:endParaRPr lang="de-DE"/>
        </a:p>
      </dgm:t>
    </dgm:pt>
    <dgm:pt modelId="{48227DAE-3DAB-4200-AB76-EA5DF1BBA83E}">
      <dgm:prSet phldrT="[Text]" custT="1"/>
      <dgm:spPr/>
      <dgm:t>
        <a:bodyPr/>
        <a:lstStyle/>
        <a:p>
          <a:pPr>
            <a:buFont typeface="Wingdings" panose="05000000000000000000" pitchFamily="2" charset="2"/>
            <a:buChar char="§"/>
          </a:pPr>
          <a:r>
            <a:rPr lang="pl-PL" sz="1000"/>
            <a:t>Data</a:t>
          </a:r>
          <a:endParaRPr lang="de-DE" sz="1000" dirty="0"/>
        </a:p>
      </dgm:t>
    </dgm:pt>
    <dgm:pt modelId="{C39A524A-0997-4E0D-8DA1-9F421A3A8DFC}" type="parTrans" cxnId="{29CC8409-5C2F-4AC1-ACAC-79DF599B89DA}">
      <dgm:prSet/>
      <dgm:spPr/>
      <dgm:t>
        <a:bodyPr/>
        <a:lstStyle/>
        <a:p>
          <a:endParaRPr lang="de-DE"/>
        </a:p>
      </dgm:t>
    </dgm:pt>
    <dgm:pt modelId="{29AA809C-DDD2-4022-A91E-891D2424FC9C}" type="sibTrans" cxnId="{29CC8409-5C2F-4AC1-ACAC-79DF599B89DA}">
      <dgm:prSet/>
      <dgm:spPr/>
      <dgm:t>
        <a:bodyPr/>
        <a:lstStyle/>
        <a:p>
          <a:endParaRPr lang="de-DE"/>
        </a:p>
      </dgm:t>
    </dgm:pt>
    <dgm:pt modelId="{B1E5500B-8C98-40C4-AA7A-A49DB51342D1}">
      <dgm:prSet custT="1"/>
      <dgm:spPr/>
      <dgm:t>
        <a:bodyPr/>
        <a:lstStyle/>
        <a:p>
          <a:r>
            <a:rPr lang="pl-PL" sz="1000"/>
            <a:t>Regulatory compliance</a:t>
          </a:r>
          <a:endParaRPr lang="pl-PL" sz="1000" dirty="0"/>
        </a:p>
      </dgm:t>
    </dgm:pt>
    <dgm:pt modelId="{4613A2FD-D3B1-4093-95B9-0D9377F2CC4B}" type="parTrans" cxnId="{7457C51F-A8E9-49FE-9763-6FEC968DE316}">
      <dgm:prSet/>
      <dgm:spPr/>
      <dgm:t>
        <a:bodyPr/>
        <a:lstStyle/>
        <a:p>
          <a:endParaRPr lang="de-DE"/>
        </a:p>
      </dgm:t>
    </dgm:pt>
    <dgm:pt modelId="{2A67D20E-D3A7-413A-825D-F0381C63F1CD}" type="sibTrans" cxnId="{7457C51F-A8E9-49FE-9763-6FEC968DE316}">
      <dgm:prSet/>
      <dgm:spPr/>
      <dgm:t>
        <a:bodyPr/>
        <a:lstStyle/>
        <a:p>
          <a:endParaRPr lang="de-DE"/>
        </a:p>
      </dgm:t>
    </dgm:pt>
    <dgm:pt modelId="{D1CC9BBC-6D5A-419E-9D29-D5E9CD89D3DC}">
      <dgm:prSet custT="1"/>
      <dgm:spPr/>
      <dgm:t>
        <a:bodyPr/>
        <a:lstStyle/>
        <a:p>
          <a:r>
            <a:rPr lang="pl-PL" sz="1000" dirty="0"/>
            <a:t>Fault tolerance</a:t>
          </a:r>
        </a:p>
      </dgm:t>
    </dgm:pt>
    <dgm:pt modelId="{AE719610-F5F4-4485-9252-DEA63E25635B}" type="parTrans" cxnId="{A2D637A7-8D82-4882-A76F-C3AB660FB2CB}">
      <dgm:prSet/>
      <dgm:spPr/>
      <dgm:t>
        <a:bodyPr/>
        <a:lstStyle/>
        <a:p>
          <a:endParaRPr lang="de-DE"/>
        </a:p>
      </dgm:t>
    </dgm:pt>
    <dgm:pt modelId="{32FA3F64-BCE9-4194-881A-5C2E9CEF57F9}" type="sibTrans" cxnId="{A2D637A7-8D82-4882-A76F-C3AB660FB2CB}">
      <dgm:prSet/>
      <dgm:spPr/>
      <dgm:t>
        <a:bodyPr/>
        <a:lstStyle/>
        <a:p>
          <a:endParaRPr lang="de-DE"/>
        </a:p>
      </dgm:t>
    </dgm:pt>
    <dgm:pt modelId="{F834B990-37C8-4E0F-8359-35FFB67FE3F8}">
      <dgm:prSet custT="1"/>
      <dgm:spPr/>
      <dgm:t>
        <a:bodyPr/>
        <a:lstStyle/>
        <a:p>
          <a:r>
            <a:rPr lang="pl-PL" sz="1000" b="1" kern="1200" dirty="0">
              <a:solidFill>
                <a:prstClr val="white"/>
              </a:solidFill>
              <a:latin typeface="Verdana"/>
              <a:ea typeface="+mn-ea"/>
              <a:cs typeface="+mn-cs"/>
            </a:rPr>
            <a:t>Scaling</a:t>
          </a:r>
        </a:p>
      </dgm:t>
    </dgm:pt>
    <dgm:pt modelId="{D9C11E3E-8B71-47DA-AA00-350FA13EE46C}" type="parTrans" cxnId="{F73E6508-D6AF-4BFA-A753-A29D3BE74A78}">
      <dgm:prSet/>
      <dgm:spPr/>
      <dgm:t>
        <a:bodyPr/>
        <a:lstStyle/>
        <a:p>
          <a:endParaRPr lang="de-DE"/>
        </a:p>
      </dgm:t>
    </dgm:pt>
    <dgm:pt modelId="{C78F644E-9B6C-4B3C-BBB8-3C4159121064}" type="sibTrans" cxnId="{F73E6508-D6AF-4BFA-A753-A29D3BE74A78}">
      <dgm:prSet/>
      <dgm:spPr/>
      <dgm:t>
        <a:bodyPr/>
        <a:lstStyle/>
        <a:p>
          <a:endParaRPr lang="de-DE"/>
        </a:p>
      </dgm:t>
    </dgm:pt>
    <dgm:pt modelId="{5D72FD0B-7B96-4A09-B576-1267A2C74018}">
      <dgm:prSet custT="1"/>
      <dgm:spPr/>
      <dgm:t>
        <a:bodyPr/>
        <a:lstStyle/>
        <a:p>
          <a:r>
            <a:rPr lang="pl-PL" sz="1000" dirty="0"/>
            <a:t>Doas not scale as good as public cloud</a:t>
          </a:r>
          <a:endParaRPr lang="de-DE" sz="1000" dirty="0"/>
        </a:p>
      </dgm:t>
    </dgm:pt>
    <dgm:pt modelId="{65D32D34-A087-47CD-BA25-0AF99B08C12E}" type="parTrans" cxnId="{D360B4B8-C775-46D1-8676-5C3826F904D5}">
      <dgm:prSet/>
      <dgm:spPr/>
      <dgm:t>
        <a:bodyPr/>
        <a:lstStyle/>
        <a:p>
          <a:endParaRPr lang="de-DE"/>
        </a:p>
      </dgm:t>
    </dgm:pt>
    <dgm:pt modelId="{8F78CE2E-1F48-4E92-9377-E3630FBF0862}" type="sibTrans" cxnId="{D360B4B8-C775-46D1-8676-5C3826F904D5}">
      <dgm:prSet/>
      <dgm:spPr/>
      <dgm:t>
        <a:bodyPr/>
        <a:lstStyle/>
        <a:p>
          <a:endParaRPr lang="de-DE"/>
        </a:p>
      </dgm:t>
    </dgm:pt>
    <dgm:pt modelId="{F193C726-49AF-4E92-B9D8-3600CBC58619}">
      <dgm:prSet custT="1"/>
      <dgm:spPr/>
      <dgm:t>
        <a:bodyPr/>
        <a:lstStyle/>
        <a:p>
          <a:r>
            <a:rPr lang="pl-PL" sz="1000" dirty="0"/>
            <a:t>Security and performance</a:t>
          </a:r>
        </a:p>
      </dgm:t>
    </dgm:pt>
    <dgm:pt modelId="{BBDB2C4E-EB2E-4832-A2F4-C81602E90CEE}" type="parTrans" cxnId="{5B906F0A-9B6A-40AF-A827-57F08264EFC8}">
      <dgm:prSet/>
      <dgm:spPr/>
      <dgm:t>
        <a:bodyPr/>
        <a:lstStyle/>
        <a:p>
          <a:endParaRPr lang="de-DE"/>
        </a:p>
      </dgm:t>
    </dgm:pt>
    <dgm:pt modelId="{ABBC10F9-DCFF-4E9B-8080-B83B982AF5CB}" type="sibTrans" cxnId="{5B906F0A-9B6A-40AF-A827-57F08264EFC8}">
      <dgm:prSet/>
      <dgm:spPr/>
      <dgm:t>
        <a:bodyPr/>
        <a:lstStyle/>
        <a:p>
          <a:endParaRPr lang="de-DE"/>
        </a:p>
      </dgm:t>
    </dgm:pt>
    <dgm:pt modelId="{E5C093E2-B9B0-4AE0-8348-E7FA4ED31315}" type="pres">
      <dgm:prSet presAssocID="{FEEBCB12-78BB-4DCE-83DC-0047EE7A9726}" presName="list" presStyleCnt="0">
        <dgm:presLayoutVars>
          <dgm:dir/>
          <dgm:animLvl val="lvl"/>
        </dgm:presLayoutVars>
      </dgm:prSet>
      <dgm:spPr/>
    </dgm:pt>
    <dgm:pt modelId="{5952B5A3-784C-445E-860D-AB44B13F1E74}" type="pres">
      <dgm:prSet presAssocID="{BF22457B-EFC1-4DB9-8F08-D3686E00F82A}" presName="posSpace" presStyleCnt="0"/>
      <dgm:spPr/>
    </dgm:pt>
    <dgm:pt modelId="{89D77811-E3E6-4890-BC68-161E22FDF9F6}" type="pres">
      <dgm:prSet presAssocID="{BF22457B-EFC1-4DB9-8F08-D3686E00F82A}" presName="vertFlow" presStyleCnt="0"/>
      <dgm:spPr/>
    </dgm:pt>
    <dgm:pt modelId="{C0B1A089-6EC5-4D5D-9389-2AA77E433AB1}" type="pres">
      <dgm:prSet presAssocID="{BF22457B-EFC1-4DB9-8F08-D3686E00F82A}" presName="topSpace" presStyleCnt="0"/>
      <dgm:spPr/>
    </dgm:pt>
    <dgm:pt modelId="{1C2A6A47-DCCA-4CE1-96B2-8FEE60E03247}" type="pres">
      <dgm:prSet presAssocID="{BF22457B-EFC1-4DB9-8F08-D3686E00F82A}" presName="firstComp" presStyleCnt="0"/>
      <dgm:spPr/>
    </dgm:pt>
    <dgm:pt modelId="{C9F1806B-55D5-440E-A34F-E260A5CFDE52}" type="pres">
      <dgm:prSet presAssocID="{BF22457B-EFC1-4DB9-8F08-D3686E00F82A}" presName="firstChild" presStyleLbl="bgAccFollowNode1" presStyleIdx="0" presStyleCnt="12"/>
      <dgm:spPr/>
    </dgm:pt>
    <dgm:pt modelId="{FCB1D945-E26A-4343-9981-8E8EABA28C45}" type="pres">
      <dgm:prSet presAssocID="{BF22457B-EFC1-4DB9-8F08-D3686E00F82A}" presName="firstChildTx" presStyleLbl="bgAccFollowNode1" presStyleIdx="0" presStyleCnt="12">
        <dgm:presLayoutVars>
          <dgm:bulletEnabled val="1"/>
        </dgm:presLayoutVars>
      </dgm:prSet>
      <dgm:spPr/>
    </dgm:pt>
    <dgm:pt modelId="{DCB278AC-638C-4ACF-B2D2-32D9B77191BA}" type="pres">
      <dgm:prSet presAssocID="{C990EB0D-F7F0-4618-BB7D-9CB0616794BD}" presName="comp" presStyleCnt="0"/>
      <dgm:spPr/>
    </dgm:pt>
    <dgm:pt modelId="{41A7438B-5C03-43CD-B983-FB27730FFDFA}" type="pres">
      <dgm:prSet presAssocID="{C990EB0D-F7F0-4618-BB7D-9CB0616794BD}" presName="child" presStyleLbl="bgAccFollowNode1" presStyleIdx="1" presStyleCnt="12"/>
      <dgm:spPr/>
    </dgm:pt>
    <dgm:pt modelId="{9E9AC8A6-C27E-4443-9487-423519DDE706}" type="pres">
      <dgm:prSet presAssocID="{C990EB0D-F7F0-4618-BB7D-9CB0616794BD}" presName="childTx" presStyleLbl="bgAccFollowNode1" presStyleIdx="1" presStyleCnt="12">
        <dgm:presLayoutVars>
          <dgm:bulletEnabled val="1"/>
        </dgm:presLayoutVars>
      </dgm:prSet>
      <dgm:spPr/>
    </dgm:pt>
    <dgm:pt modelId="{14997BDE-05DA-402F-8C12-E8625E0745EF}" type="pres">
      <dgm:prSet presAssocID="{EEAE13D9-6058-47CB-80C1-06ECF810A40A}" presName="comp" presStyleCnt="0"/>
      <dgm:spPr/>
    </dgm:pt>
    <dgm:pt modelId="{81088BE2-5DD8-4E49-A58B-B376DD97CFA7}" type="pres">
      <dgm:prSet presAssocID="{EEAE13D9-6058-47CB-80C1-06ECF810A40A}" presName="child" presStyleLbl="bgAccFollowNode1" presStyleIdx="2" presStyleCnt="12"/>
      <dgm:spPr/>
    </dgm:pt>
    <dgm:pt modelId="{C832A02E-C8E1-480C-A56A-19451BCC08DA}" type="pres">
      <dgm:prSet presAssocID="{EEAE13D9-6058-47CB-80C1-06ECF810A40A}" presName="childTx" presStyleLbl="bgAccFollowNode1" presStyleIdx="2" presStyleCnt="12">
        <dgm:presLayoutVars>
          <dgm:bulletEnabled val="1"/>
        </dgm:presLayoutVars>
      </dgm:prSet>
      <dgm:spPr/>
    </dgm:pt>
    <dgm:pt modelId="{EA0EE814-5ADB-413B-88B1-ADE86D06C805}" type="pres">
      <dgm:prSet presAssocID="{BF22457B-EFC1-4DB9-8F08-D3686E00F82A}" presName="negSpace" presStyleCnt="0"/>
      <dgm:spPr/>
    </dgm:pt>
    <dgm:pt modelId="{50547CC0-375A-4433-B330-1561BF07B600}" type="pres">
      <dgm:prSet presAssocID="{BF22457B-EFC1-4DB9-8F08-D3686E00F82A}" presName="circle" presStyleLbl="node1" presStyleIdx="0" presStyleCnt="4"/>
      <dgm:spPr/>
    </dgm:pt>
    <dgm:pt modelId="{632B8D0B-82AC-466C-9690-D924A122797D}" type="pres">
      <dgm:prSet presAssocID="{4329DC24-E6BA-425D-805B-0E1CE806CEB1}" presName="transSpace" presStyleCnt="0"/>
      <dgm:spPr/>
    </dgm:pt>
    <dgm:pt modelId="{60CC7B1F-B04D-44EC-956D-CAE2B012F31C}" type="pres">
      <dgm:prSet presAssocID="{4357F995-180C-48BB-A110-192840B5F4C6}" presName="posSpace" presStyleCnt="0"/>
      <dgm:spPr/>
    </dgm:pt>
    <dgm:pt modelId="{E2C4E9EA-F09F-4257-A610-C7BF50BA558C}" type="pres">
      <dgm:prSet presAssocID="{4357F995-180C-48BB-A110-192840B5F4C6}" presName="vertFlow" presStyleCnt="0"/>
      <dgm:spPr/>
    </dgm:pt>
    <dgm:pt modelId="{B718FED3-3171-4526-991E-20111326AC14}" type="pres">
      <dgm:prSet presAssocID="{4357F995-180C-48BB-A110-192840B5F4C6}" presName="topSpace" presStyleCnt="0"/>
      <dgm:spPr/>
    </dgm:pt>
    <dgm:pt modelId="{2168E45F-AF6A-4CDA-8AF4-F3A88F8B12C6}" type="pres">
      <dgm:prSet presAssocID="{4357F995-180C-48BB-A110-192840B5F4C6}" presName="firstComp" presStyleCnt="0"/>
      <dgm:spPr/>
    </dgm:pt>
    <dgm:pt modelId="{1FAB8347-3239-4D55-983C-CC5B2FBF5566}" type="pres">
      <dgm:prSet presAssocID="{4357F995-180C-48BB-A110-192840B5F4C6}" presName="firstChild" presStyleLbl="bgAccFollowNode1" presStyleIdx="3" presStyleCnt="12"/>
      <dgm:spPr/>
    </dgm:pt>
    <dgm:pt modelId="{DDB94FB5-AC10-4328-981D-B2584EC51CFD}" type="pres">
      <dgm:prSet presAssocID="{4357F995-180C-48BB-A110-192840B5F4C6}" presName="firstChildTx" presStyleLbl="bgAccFollowNode1" presStyleIdx="3" presStyleCnt="12">
        <dgm:presLayoutVars>
          <dgm:bulletEnabled val="1"/>
        </dgm:presLayoutVars>
      </dgm:prSet>
      <dgm:spPr/>
    </dgm:pt>
    <dgm:pt modelId="{691F9428-8DAF-4E03-B769-A3F0AFD437E6}" type="pres">
      <dgm:prSet presAssocID="{109FD917-7FD7-45A1-A349-F306B7EA9D45}" presName="comp" presStyleCnt="0"/>
      <dgm:spPr/>
    </dgm:pt>
    <dgm:pt modelId="{96ED6911-B6E4-46D5-A38E-5D183FCDF129}" type="pres">
      <dgm:prSet presAssocID="{109FD917-7FD7-45A1-A349-F306B7EA9D45}" presName="child" presStyleLbl="bgAccFollowNode1" presStyleIdx="4" presStyleCnt="12"/>
      <dgm:spPr/>
    </dgm:pt>
    <dgm:pt modelId="{F05F9702-3E45-45A5-A688-93AE271A4647}" type="pres">
      <dgm:prSet presAssocID="{109FD917-7FD7-45A1-A349-F306B7EA9D45}" presName="childTx" presStyleLbl="bgAccFollowNode1" presStyleIdx="4" presStyleCnt="12">
        <dgm:presLayoutVars>
          <dgm:bulletEnabled val="1"/>
        </dgm:presLayoutVars>
      </dgm:prSet>
      <dgm:spPr/>
    </dgm:pt>
    <dgm:pt modelId="{01BDE53F-83E2-4012-90E3-EC9084B9826A}" type="pres">
      <dgm:prSet presAssocID="{154F0B97-8E2B-475B-9E1C-D77C4B0C4570}" presName="comp" presStyleCnt="0"/>
      <dgm:spPr/>
    </dgm:pt>
    <dgm:pt modelId="{638F5FE4-1100-45CF-B15B-40E3AA9A6C49}" type="pres">
      <dgm:prSet presAssocID="{154F0B97-8E2B-475B-9E1C-D77C4B0C4570}" presName="child" presStyleLbl="bgAccFollowNode1" presStyleIdx="5" presStyleCnt="12"/>
      <dgm:spPr/>
    </dgm:pt>
    <dgm:pt modelId="{D4C62FF2-44E6-407E-9B99-E7AD61DCACFE}" type="pres">
      <dgm:prSet presAssocID="{154F0B97-8E2B-475B-9E1C-D77C4B0C4570}" presName="childTx" presStyleLbl="bgAccFollowNode1" presStyleIdx="5" presStyleCnt="12">
        <dgm:presLayoutVars>
          <dgm:bulletEnabled val="1"/>
        </dgm:presLayoutVars>
      </dgm:prSet>
      <dgm:spPr/>
    </dgm:pt>
    <dgm:pt modelId="{5C09B6B5-18E1-41A4-80BF-C1C91A8E94B9}" type="pres">
      <dgm:prSet presAssocID="{49B4A9BE-524A-4E52-AF31-FD7FDD1A35C1}" presName="comp" presStyleCnt="0"/>
      <dgm:spPr/>
    </dgm:pt>
    <dgm:pt modelId="{6EB3D470-7F7B-4B23-8DC3-460B3872A570}" type="pres">
      <dgm:prSet presAssocID="{49B4A9BE-524A-4E52-AF31-FD7FDD1A35C1}" presName="child" presStyleLbl="bgAccFollowNode1" presStyleIdx="6" presStyleCnt="12"/>
      <dgm:spPr/>
    </dgm:pt>
    <dgm:pt modelId="{F2438830-2392-4716-A353-3F1327F6FA6C}" type="pres">
      <dgm:prSet presAssocID="{49B4A9BE-524A-4E52-AF31-FD7FDD1A35C1}" presName="childTx" presStyleLbl="bgAccFollowNode1" presStyleIdx="6" presStyleCnt="12">
        <dgm:presLayoutVars>
          <dgm:bulletEnabled val="1"/>
        </dgm:presLayoutVars>
      </dgm:prSet>
      <dgm:spPr/>
    </dgm:pt>
    <dgm:pt modelId="{2BEAC469-479C-466A-9DDA-D829F44DBFFF}" type="pres">
      <dgm:prSet presAssocID="{4357F995-180C-48BB-A110-192840B5F4C6}" presName="negSpace" presStyleCnt="0"/>
      <dgm:spPr/>
    </dgm:pt>
    <dgm:pt modelId="{551F601C-CC70-4CE1-8F44-B93641155479}" type="pres">
      <dgm:prSet presAssocID="{4357F995-180C-48BB-A110-192840B5F4C6}" presName="circle" presStyleLbl="node1" presStyleIdx="1" presStyleCnt="4"/>
      <dgm:spPr/>
    </dgm:pt>
    <dgm:pt modelId="{FD448A6E-C31D-4B6A-81E9-4859B1185BC3}" type="pres">
      <dgm:prSet presAssocID="{D5F5701F-B121-4FF3-BC15-59E55E41F7F6}" presName="transSpace" presStyleCnt="0"/>
      <dgm:spPr/>
    </dgm:pt>
    <dgm:pt modelId="{14422E9D-EA13-475A-99B8-E7F86B209197}" type="pres">
      <dgm:prSet presAssocID="{45A9BB93-0328-427B-A81F-26D495AC33B4}" presName="posSpace" presStyleCnt="0"/>
      <dgm:spPr/>
    </dgm:pt>
    <dgm:pt modelId="{1BB8F83B-7832-4491-A26F-ECF81951F74D}" type="pres">
      <dgm:prSet presAssocID="{45A9BB93-0328-427B-A81F-26D495AC33B4}" presName="vertFlow" presStyleCnt="0"/>
      <dgm:spPr/>
    </dgm:pt>
    <dgm:pt modelId="{48E91427-69E9-47B8-8CAB-A533A0943B79}" type="pres">
      <dgm:prSet presAssocID="{45A9BB93-0328-427B-A81F-26D495AC33B4}" presName="topSpace" presStyleCnt="0"/>
      <dgm:spPr/>
    </dgm:pt>
    <dgm:pt modelId="{BA4B3867-2220-4999-98ED-0708F08BA161}" type="pres">
      <dgm:prSet presAssocID="{45A9BB93-0328-427B-A81F-26D495AC33B4}" presName="firstComp" presStyleCnt="0"/>
      <dgm:spPr/>
    </dgm:pt>
    <dgm:pt modelId="{CAF4F3E0-35CA-4329-8E30-62D60E615851}" type="pres">
      <dgm:prSet presAssocID="{45A9BB93-0328-427B-A81F-26D495AC33B4}" presName="firstChild" presStyleLbl="bgAccFollowNode1" presStyleIdx="7" presStyleCnt="12"/>
      <dgm:spPr/>
    </dgm:pt>
    <dgm:pt modelId="{A61DBE5F-93F1-4AFB-9639-0AD27FB9C5A3}" type="pres">
      <dgm:prSet presAssocID="{45A9BB93-0328-427B-A81F-26D495AC33B4}" presName="firstChildTx" presStyleLbl="bgAccFollowNode1" presStyleIdx="7" presStyleCnt="12">
        <dgm:presLayoutVars>
          <dgm:bulletEnabled val="1"/>
        </dgm:presLayoutVars>
      </dgm:prSet>
      <dgm:spPr/>
    </dgm:pt>
    <dgm:pt modelId="{AC04C3F6-C7A8-48AF-BB6D-31F669691576}" type="pres">
      <dgm:prSet presAssocID="{B1E5500B-8C98-40C4-AA7A-A49DB51342D1}" presName="comp" presStyleCnt="0"/>
      <dgm:spPr/>
    </dgm:pt>
    <dgm:pt modelId="{5326B08F-937F-43D4-8B91-02C5AB882737}" type="pres">
      <dgm:prSet presAssocID="{B1E5500B-8C98-40C4-AA7A-A49DB51342D1}" presName="child" presStyleLbl="bgAccFollowNode1" presStyleIdx="8" presStyleCnt="12"/>
      <dgm:spPr/>
    </dgm:pt>
    <dgm:pt modelId="{B303453E-8E0C-419D-AEF0-8105EECB9510}" type="pres">
      <dgm:prSet presAssocID="{B1E5500B-8C98-40C4-AA7A-A49DB51342D1}" presName="childTx" presStyleLbl="bgAccFollowNode1" presStyleIdx="8" presStyleCnt="12">
        <dgm:presLayoutVars>
          <dgm:bulletEnabled val="1"/>
        </dgm:presLayoutVars>
      </dgm:prSet>
      <dgm:spPr/>
    </dgm:pt>
    <dgm:pt modelId="{E7121DEE-A76A-4249-9E00-D4BA337C66FA}" type="pres">
      <dgm:prSet presAssocID="{D1CC9BBC-6D5A-419E-9D29-D5E9CD89D3DC}" presName="comp" presStyleCnt="0"/>
      <dgm:spPr/>
    </dgm:pt>
    <dgm:pt modelId="{73E09C06-8C9D-4082-AAD3-77A87A2D850C}" type="pres">
      <dgm:prSet presAssocID="{D1CC9BBC-6D5A-419E-9D29-D5E9CD89D3DC}" presName="child" presStyleLbl="bgAccFollowNode1" presStyleIdx="9" presStyleCnt="12"/>
      <dgm:spPr/>
    </dgm:pt>
    <dgm:pt modelId="{A5EFE7F9-9856-4381-90A5-F4073DFA4FA0}" type="pres">
      <dgm:prSet presAssocID="{D1CC9BBC-6D5A-419E-9D29-D5E9CD89D3DC}" presName="childTx" presStyleLbl="bgAccFollowNode1" presStyleIdx="9" presStyleCnt="12">
        <dgm:presLayoutVars>
          <dgm:bulletEnabled val="1"/>
        </dgm:presLayoutVars>
      </dgm:prSet>
      <dgm:spPr/>
    </dgm:pt>
    <dgm:pt modelId="{9966885F-9169-4DF1-96E3-56C1CA896BBD}" type="pres">
      <dgm:prSet presAssocID="{F193C726-49AF-4E92-B9D8-3600CBC58619}" presName="comp" presStyleCnt="0"/>
      <dgm:spPr/>
    </dgm:pt>
    <dgm:pt modelId="{17D17156-C521-4A03-8D6F-38FDBB8914C8}" type="pres">
      <dgm:prSet presAssocID="{F193C726-49AF-4E92-B9D8-3600CBC58619}" presName="child" presStyleLbl="bgAccFollowNode1" presStyleIdx="10" presStyleCnt="12"/>
      <dgm:spPr/>
    </dgm:pt>
    <dgm:pt modelId="{A397B273-C8FF-43FB-A4BD-78AB6272E85E}" type="pres">
      <dgm:prSet presAssocID="{F193C726-49AF-4E92-B9D8-3600CBC58619}" presName="childTx" presStyleLbl="bgAccFollowNode1" presStyleIdx="10" presStyleCnt="12">
        <dgm:presLayoutVars>
          <dgm:bulletEnabled val="1"/>
        </dgm:presLayoutVars>
      </dgm:prSet>
      <dgm:spPr/>
    </dgm:pt>
    <dgm:pt modelId="{8F730C56-F0A0-46D3-9257-4FD264F3CC68}" type="pres">
      <dgm:prSet presAssocID="{45A9BB93-0328-427B-A81F-26D495AC33B4}" presName="negSpace" presStyleCnt="0"/>
      <dgm:spPr/>
    </dgm:pt>
    <dgm:pt modelId="{D02170E7-1BA5-43D6-BE64-9CE22218352A}" type="pres">
      <dgm:prSet presAssocID="{45A9BB93-0328-427B-A81F-26D495AC33B4}" presName="circle" presStyleLbl="node1" presStyleIdx="2" presStyleCnt="4"/>
      <dgm:spPr/>
    </dgm:pt>
    <dgm:pt modelId="{77B0FC3D-2A24-4D8F-BCE2-02AACAF3E47C}" type="pres">
      <dgm:prSet presAssocID="{07F6F816-F2A4-45B2-9D65-C65AE3DE417B}" presName="transSpace" presStyleCnt="0"/>
      <dgm:spPr/>
    </dgm:pt>
    <dgm:pt modelId="{F39D8DF8-D134-436B-B40D-F871D2F2AAD8}" type="pres">
      <dgm:prSet presAssocID="{F834B990-37C8-4E0F-8359-35FFB67FE3F8}" presName="posSpace" presStyleCnt="0"/>
      <dgm:spPr/>
    </dgm:pt>
    <dgm:pt modelId="{35D60FAE-C5E0-4389-B8CE-93AD845A404A}" type="pres">
      <dgm:prSet presAssocID="{F834B990-37C8-4E0F-8359-35FFB67FE3F8}" presName="vertFlow" presStyleCnt="0"/>
      <dgm:spPr/>
    </dgm:pt>
    <dgm:pt modelId="{58CABFA2-86CD-43A4-8090-C5F4A19C5260}" type="pres">
      <dgm:prSet presAssocID="{F834B990-37C8-4E0F-8359-35FFB67FE3F8}" presName="topSpace" presStyleCnt="0"/>
      <dgm:spPr/>
    </dgm:pt>
    <dgm:pt modelId="{702BDE7C-F90F-4416-B3A9-C34831900B60}" type="pres">
      <dgm:prSet presAssocID="{F834B990-37C8-4E0F-8359-35FFB67FE3F8}" presName="firstComp" presStyleCnt="0"/>
      <dgm:spPr/>
    </dgm:pt>
    <dgm:pt modelId="{49E79121-23E0-4A05-BE30-BF53F8DB9B07}" type="pres">
      <dgm:prSet presAssocID="{F834B990-37C8-4E0F-8359-35FFB67FE3F8}" presName="firstChild" presStyleLbl="bgAccFollowNode1" presStyleIdx="11" presStyleCnt="12"/>
      <dgm:spPr/>
    </dgm:pt>
    <dgm:pt modelId="{12C36434-B9CD-4488-ABD2-517BC2D15C91}" type="pres">
      <dgm:prSet presAssocID="{F834B990-37C8-4E0F-8359-35FFB67FE3F8}" presName="firstChildTx" presStyleLbl="bgAccFollowNode1" presStyleIdx="11" presStyleCnt="12">
        <dgm:presLayoutVars>
          <dgm:bulletEnabled val="1"/>
        </dgm:presLayoutVars>
      </dgm:prSet>
      <dgm:spPr/>
    </dgm:pt>
    <dgm:pt modelId="{4D9D4662-CC8B-405C-9048-B0E62803C749}" type="pres">
      <dgm:prSet presAssocID="{F834B990-37C8-4E0F-8359-35FFB67FE3F8}" presName="negSpace" presStyleCnt="0"/>
      <dgm:spPr/>
    </dgm:pt>
    <dgm:pt modelId="{69400345-7B1C-41B9-91AD-32745F0FB337}" type="pres">
      <dgm:prSet presAssocID="{F834B990-37C8-4E0F-8359-35FFB67FE3F8}" presName="circle" presStyleLbl="node1" presStyleIdx="3" presStyleCnt="4"/>
      <dgm:spPr/>
    </dgm:pt>
  </dgm:ptLst>
  <dgm:cxnLst>
    <dgm:cxn modelId="{2166CB00-AB28-4AA1-A8A5-C758F1453DCB}" type="presOf" srcId="{45A9BB93-0328-427B-A81F-26D495AC33B4}" destId="{D02170E7-1BA5-43D6-BE64-9CE22218352A}" srcOrd="0" destOrd="0" presId="urn:microsoft.com/office/officeart/2005/8/layout/hList9"/>
    <dgm:cxn modelId="{09C75F05-2279-4E63-AA9D-5092534DF64E}" srcId="{FEEBCB12-78BB-4DCE-83DC-0047EE7A9726}" destId="{4357F995-180C-48BB-A110-192840B5F4C6}" srcOrd="1" destOrd="0" parTransId="{A1A8BBC4-C4A6-4DC0-9A3D-3BB5A19CE7D0}" sibTransId="{D5F5701F-B121-4FF3-BC15-59E55E41F7F6}"/>
    <dgm:cxn modelId="{F73E6508-D6AF-4BFA-A753-A29D3BE74A78}" srcId="{FEEBCB12-78BB-4DCE-83DC-0047EE7A9726}" destId="{F834B990-37C8-4E0F-8359-35FFB67FE3F8}" srcOrd="3" destOrd="0" parTransId="{D9C11E3E-8B71-47DA-AA00-350FA13EE46C}" sibTransId="{C78F644E-9B6C-4B3C-BBB8-3C4159121064}"/>
    <dgm:cxn modelId="{29CC8409-5C2F-4AC1-ACAC-79DF599B89DA}" srcId="{45A9BB93-0328-427B-A81F-26D495AC33B4}" destId="{48227DAE-3DAB-4200-AB76-EA5DF1BBA83E}" srcOrd="0" destOrd="0" parTransId="{C39A524A-0997-4E0D-8DA1-9F421A3A8DFC}" sibTransId="{29AA809C-DDD2-4022-A91E-891D2424FC9C}"/>
    <dgm:cxn modelId="{5B906F0A-9B6A-40AF-A827-57F08264EFC8}" srcId="{45A9BB93-0328-427B-A81F-26D495AC33B4}" destId="{F193C726-49AF-4E92-B9D8-3600CBC58619}" srcOrd="3" destOrd="0" parTransId="{BBDB2C4E-EB2E-4832-A2F4-C81602E90CEE}" sibTransId="{ABBC10F9-DCFF-4E9B-8080-B83B982AF5CB}"/>
    <dgm:cxn modelId="{D4A4890C-793F-4617-BE08-9613FE519B85}" type="presOf" srcId="{48227DAE-3DAB-4200-AB76-EA5DF1BBA83E}" destId="{A61DBE5F-93F1-4AFB-9639-0AD27FB9C5A3}" srcOrd="1" destOrd="0" presId="urn:microsoft.com/office/officeart/2005/8/layout/hList9"/>
    <dgm:cxn modelId="{853FD60D-F067-4ED9-AD71-8513E4FFF24F}" type="presOf" srcId="{154F0B97-8E2B-475B-9E1C-D77C4B0C4570}" destId="{D4C62FF2-44E6-407E-9B99-E7AD61DCACFE}" srcOrd="1" destOrd="0" presId="urn:microsoft.com/office/officeart/2005/8/layout/hList9"/>
    <dgm:cxn modelId="{FAF0131E-D93C-4271-9DB6-B623A936F48D}" type="presOf" srcId="{109FD917-7FD7-45A1-A349-F306B7EA9D45}" destId="{F05F9702-3E45-45A5-A688-93AE271A4647}" srcOrd="1" destOrd="0" presId="urn:microsoft.com/office/officeart/2005/8/layout/hList9"/>
    <dgm:cxn modelId="{7457C51F-A8E9-49FE-9763-6FEC968DE316}" srcId="{45A9BB93-0328-427B-A81F-26D495AC33B4}" destId="{B1E5500B-8C98-40C4-AA7A-A49DB51342D1}" srcOrd="1" destOrd="0" parTransId="{4613A2FD-D3B1-4093-95B9-0D9377F2CC4B}" sibTransId="{2A67D20E-D3A7-413A-825D-F0381C63F1CD}"/>
    <dgm:cxn modelId="{3FC11923-C9A7-4B42-ABBA-EC639433556A}" type="presOf" srcId="{B1E5500B-8C98-40C4-AA7A-A49DB51342D1}" destId="{B303453E-8E0C-419D-AEF0-8105EECB9510}" srcOrd="1" destOrd="0" presId="urn:microsoft.com/office/officeart/2005/8/layout/hList9"/>
    <dgm:cxn modelId="{B9EA0726-C7B5-4BC8-892A-2B1CD7B54D03}" srcId="{4357F995-180C-48BB-A110-192840B5F4C6}" destId="{154F0B97-8E2B-475B-9E1C-D77C4B0C4570}" srcOrd="2" destOrd="0" parTransId="{DFDCEDD7-EFFA-439F-A0D4-1C8E7BD6D2D7}" sibTransId="{57DB886F-7837-4062-BDA3-D2B18F29FA92}"/>
    <dgm:cxn modelId="{93BCC531-5276-424A-B597-A2ABF22AFBA9}" srcId="{BF22457B-EFC1-4DB9-8F08-D3686E00F82A}" destId="{C990EB0D-F7F0-4618-BB7D-9CB0616794BD}" srcOrd="1" destOrd="0" parTransId="{C264CC68-CE5B-4F48-8AD5-A737BCE77985}" sibTransId="{D12E0D7D-25D6-4D6C-85D3-6C1747B9447D}"/>
    <dgm:cxn modelId="{4FFB703D-5296-4339-B11D-4CA0C28C26CE}" type="presOf" srcId="{109FD917-7FD7-45A1-A349-F306B7EA9D45}" destId="{96ED6911-B6E4-46D5-A38E-5D183FCDF129}" srcOrd="0" destOrd="0" presId="urn:microsoft.com/office/officeart/2005/8/layout/hList9"/>
    <dgm:cxn modelId="{EF18DB42-8B06-4E25-B3CB-19412B0E0CF2}" type="presOf" srcId="{48227DAE-3DAB-4200-AB76-EA5DF1BBA83E}" destId="{CAF4F3E0-35CA-4329-8E30-62D60E615851}" srcOrd="0" destOrd="0" presId="urn:microsoft.com/office/officeart/2005/8/layout/hList9"/>
    <dgm:cxn modelId="{8F65764D-8BEA-44A7-9014-A5A5035FD792}" type="presOf" srcId="{49B4A9BE-524A-4E52-AF31-FD7FDD1A35C1}" destId="{6EB3D470-7F7B-4B23-8DC3-460B3872A570}" srcOrd="0" destOrd="0" presId="urn:microsoft.com/office/officeart/2005/8/layout/hList9"/>
    <dgm:cxn modelId="{A70B736F-BBF4-48D3-AA5E-F4B469F09C7B}" type="presOf" srcId="{5D72FD0B-7B96-4A09-B576-1267A2C74018}" destId="{12C36434-B9CD-4488-ABD2-517BC2D15C91}" srcOrd="1" destOrd="0" presId="urn:microsoft.com/office/officeart/2005/8/layout/hList9"/>
    <dgm:cxn modelId="{A8833D73-320B-4EFA-AE9B-865E143AEFCB}" type="presOf" srcId="{EEAE13D9-6058-47CB-80C1-06ECF810A40A}" destId="{81088BE2-5DD8-4E49-A58B-B376DD97CFA7}" srcOrd="0" destOrd="0" presId="urn:microsoft.com/office/officeart/2005/8/layout/hList9"/>
    <dgm:cxn modelId="{CC5A2C76-397C-4B47-9E55-F603AB25C672}" type="presOf" srcId="{49B4A9BE-524A-4E52-AF31-FD7FDD1A35C1}" destId="{F2438830-2392-4716-A353-3F1327F6FA6C}" srcOrd="1" destOrd="0" presId="urn:microsoft.com/office/officeart/2005/8/layout/hList9"/>
    <dgm:cxn modelId="{8BD7E559-6E9A-47C5-AC51-C20CFD3C9499}" srcId="{4357F995-180C-48BB-A110-192840B5F4C6}" destId="{49B4A9BE-524A-4E52-AF31-FD7FDD1A35C1}" srcOrd="3" destOrd="0" parTransId="{56AE2CF4-21D7-4BE3-A0B2-C158816DFDAD}" sibTransId="{6EDF52D3-B74C-4E0F-A906-ED37D051E30B}"/>
    <dgm:cxn modelId="{C4E33580-E5AC-4E7E-B90F-4A720129F755}" type="presOf" srcId="{823D24F7-023E-497B-925B-A96AAD509B47}" destId="{1FAB8347-3239-4D55-983C-CC5B2FBF5566}" srcOrd="0" destOrd="0" presId="urn:microsoft.com/office/officeart/2005/8/layout/hList9"/>
    <dgm:cxn modelId="{A97BA687-421F-4638-A2D3-D7EB2D025749}" srcId="{FEEBCB12-78BB-4DCE-83DC-0047EE7A9726}" destId="{45A9BB93-0328-427B-A81F-26D495AC33B4}" srcOrd="2" destOrd="0" parTransId="{B5FAD21B-AAF6-43BD-8C1E-AB5A035CE828}" sibTransId="{07F6F816-F2A4-45B2-9D65-C65AE3DE417B}"/>
    <dgm:cxn modelId="{9331FE8B-9AF8-468A-98FF-0FF5E8A86976}" srcId="{BF22457B-EFC1-4DB9-8F08-D3686E00F82A}" destId="{EEAE13D9-6058-47CB-80C1-06ECF810A40A}" srcOrd="2" destOrd="0" parTransId="{E5040F9B-9E0F-4A6A-8917-08CD83E15C8E}" sibTransId="{08F68C0D-2725-4C18-B5BE-90780135EEEB}"/>
    <dgm:cxn modelId="{8AEE658D-88F0-4E6A-ABB7-7444FDBF172F}" srcId="{4357F995-180C-48BB-A110-192840B5F4C6}" destId="{109FD917-7FD7-45A1-A349-F306B7EA9D45}" srcOrd="1" destOrd="0" parTransId="{01E287B3-A035-4439-909B-AB2A1565BCFF}" sibTransId="{65D8304D-2FFE-402B-9E98-21B8E0EA8878}"/>
    <dgm:cxn modelId="{594EF08F-0521-4A05-8545-EA140CD8EEDB}" type="presOf" srcId="{D1CC9BBC-6D5A-419E-9D29-D5E9CD89D3DC}" destId="{73E09C06-8C9D-4082-AAD3-77A87A2D850C}" srcOrd="0" destOrd="0" presId="urn:microsoft.com/office/officeart/2005/8/layout/hList9"/>
    <dgm:cxn modelId="{D8E3BB92-7C25-49B7-B550-B043632ACEFD}" type="presOf" srcId="{F193C726-49AF-4E92-B9D8-3600CBC58619}" destId="{17D17156-C521-4A03-8D6F-38FDBB8914C8}" srcOrd="0" destOrd="0" presId="urn:microsoft.com/office/officeart/2005/8/layout/hList9"/>
    <dgm:cxn modelId="{E8A20093-E3D7-4750-9A46-3D594ACAA4B3}" srcId="{FEEBCB12-78BB-4DCE-83DC-0047EE7A9726}" destId="{BF22457B-EFC1-4DB9-8F08-D3686E00F82A}" srcOrd="0" destOrd="0" parTransId="{F8979833-FA1B-40CA-9C10-B6D5B9FD9A1F}" sibTransId="{4329DC24-E6BA-425D-805B-0E1CE806CEB1}"/>
    <dgm:cxn modelId="{B8FCD693-2455-4945-BC32-12B5EC68D642}" type="presOf" srcId="{B1E5500B-8C98-40C4-AA7A-A49DB51342D1}" destId="{5326B08F-937F-43D4-8B91-02C5AB882737}" srcOrd="0" destOrd="0" presId="urn:microsoft.com/office/officeart/2005/8/layout/hList9"/>
    <dgm:cxn modelId="{5DCDFA99-E434-43F7-A2B1-E66B51649476}" type="presOf" srcId="{5D72FD0B-7B96-4A09-B576-1267A2C74018}" destId="{49E79121-23E0-4A05-BE30-BF53F8DB9B07}" srcOrd="0" destOrd="0" presId="urn:microsoft.com/office/officeart/2005/8/layout/hList9"/>
    <dgm:cxn modelId="{A068F9A3-EC65-402F-8DCE-A1A23F16422E}" type="presOf" srcId="{154F0B97-8E2B-475B-9E1C-D77C4B0C4570}" destId="{638F5FE4-1100-45CF-B15B-40E3AA9A6C49}" srcOrd="0" destOrd="0" presId="urn:microsoft.com/office/officeart/2005/8/layout/hList9"/>
    <dgm:cxn modelId="{A2D637A7-8D82-4882-A76F-C3AB660FB2CB}" srcId="{45A9BB93-0328-427B-A81F-26D495AC33B4}" destId="{D1CC9BBC-6D5A-419E-9D29-D5E9CD89D3DC}" srcOrd="2" destOrd="0" parTransId="{AE719610-F5F4-4485-9252-DEA63E25635B}" sibTransId="{32FA3F64-BCE9-4194-881A-5C2E9CEF57F9}"/>
    <dgm:cxn modelId="{10F4F7B0-8651-4A12-BF4F-5FD6E14B0E49}" type="presOf" srcId="{00DBE684-7BEC-4B25-BBA0-CCA1F809DEC4}" destId="{FCB1D945-E26A-4343-9981-8E8EABA28C45}" srcOrd="1" destOrd="0" presId="urn:microsoft.com/office/officeart/2005/8/layout/hList9"/>
    <dgm:cxn modelId="{01E7A9B2-800B-4206-960E-607B123B4537}" type="presOf" srcId="{F193C726-49AF-4E92-B9D8-3600CBC58619}" destId="{A397B273-C8FF-43FB-A4BD-78AB6272E85E}" srcOrd="1" destOrd="0" presId="urn:microsoft.com/office/officeart/2005/8/layout/hList9"/>
    <dgm:cxn modelId="{5D1FA4B8-27D7-4F24-A6D6-708251821FDC}" type="presOf" srcId="{F834B990-37C8-4E0F-8359-35FFB67FE3F8}" destId="{69400345-7B1C-41B9-91AD-32745F0FB337}" srcOrd="0" destOrd="0" presId="urn:microsoft.com/office/officeart/2005/8/layout/hList9"/>
    <dgm:cxn modelId="{D360B4B8-C775-46D1-8676-5C3826F904D5}" srcId="{F834B990-37C8-4E0F-8359-35FFB67FE3F8}" destId="{5D72FD0B-7B96-4A09-B576-1267A2C74018}" srcOrd="0" destOrd="0" parTransId="{65D32D34-A087-47CD-BA25-0AF99B08C12E}" sibTransId="{8F78CE2E-1F48-4E92-9377-E3630FBF0862}"/>
    <dgm:cxn modelId="{181B2ABA-3D83-4A04-B5DE-9C92CA44FD4D}" type="presOf" srcId="{823D24F7-023E-497B-925B-A96AAD509B47}" destId="{DDB94FB5-AC10-4328-981D-B2584EC51CFD}" srcOrd="1" destOrd="0" presId="urn:microsoft.com/office/officeart/2005/8/layout/hList9"/>
    <dgm:cxn modelId="{99B543BA-19B4-47CD-BF19-1801D6B637FF}" type="presOf" srcId="{BF22457B-EFC1-4DB9-8F08-D3686E00F82A}" destId="{50547CC0-375A-4433-B330-1561BF07B600}" srcOrd="0" destOrd="0" presId="urn:microsoft.com/office/officeart/2005/8/layout/hList9"/>
    <dgm:cxn modelId="{4C0ECBC4-8206-4853-A658-4B07FC39E2EB}" type="presOf" srcId="{4357F995-180C-48BB-A110-192840B5F4C6}" destId="{551F601C-CC70-4CE1-8F44-B93641155479}" srcOrd="0" destOrd="0" presId="urn:microsoft.com/office/officeart/2005/8/layout/hList9"/>
    <dgm:cxn modelId="{65A46BD2-3C1D-42A8-BA30-C4445DB5DB7D}" srcId="{BF22457B-EFC1-4DB9-8F08-D3686E00F82A}" destId="{00DBE684-7BEC-4B25-BBA0-CCA1F809DEC4}" srcOrd="0" destOrd="0" parTransId="{75BC0C8A-088D-4D17-B30B-CC964E547B39}" sibTransId="{95F8E611-790C-48AB-9D64-677E89073F4A}"/>
    <dgm:cxn modelId="{FFEB74D5-FAD3-4E2E-81E4-2B909F2C36E9}" type="presOf" srcId="{EEAE13D9-6058-47CB-80C1-06ECF810A40A}" destId="{C832A02E-C8E1-480C-A56A-19451BCC08DA}" srcOrd="1" destOrd="0" presId="urn:microsoft.com/office/officeart/2005/8/layout/hList9"/>
    <dgm:cxn modelId="{F9C00CDC-D011-428D-8940-F104946CEAB6}" type="presOf" srcId="{00DBE684-7BEC-4B25-BBA0-CCA1F809DEC4}" destId="{C9F1806B-55D5-440E-A34F-E260A5CFDE52}" srcOrd="0" destOrd="0" presId="urn:microsoft.com/office/officeart/2005/8/layout/hList9"/>
    <dgm:cxn modelId="{0533D0E2-F650-43E8-9BD4-84A29CF46B3B}" type="presOf" srcId="{D1CC9BBC-6D5A-419E-9D29-D5E9CD89D3DC}" destId="{A5EFE7F9-9856-4381-90A5-F4073DFA4FA0}" srcOrd="1" destOrd="0" presId="urn:microsoft.com/office/officeart/2005/8/layout/hList9"/>
    <dgm:cxn modelId="{1E71DEE4-51A9-42A5-A1E4-24C54BBB82AD}" type="presOf" srcId="{C990EB0D-F7F0-4618-BB7D-9CB0616794BD}" destId="{9E9AC8A6-C27E-4443-9487-423519DDE706}" srcOrd="1" destOrd="0" presId="urn:microsoft.com/office/officeart/2005/8/layout/hList9"/>
    <dgm:cxn modelId="{E152C0EF-CC7B-490B-B6A9-85FE4241D1BA}" srcId="{4357F995-180C-48BB-A110-192840B5F4C6}" destId="{823D24F7-023E-497B-925B-A96AAD509B47}" srcOrd="0" destOrd="0" parTransId="{41738CE9-72D9-4D10-8652-733139D9F23C}" sibTransId="{5B240835-D7EA-4EF4-8090-7A55FED8624C}"/>
    <dgm:cxn modelId="{30B44EF7-4F59-47A1-81A1-F60E44C73867}" type="presOf" srcId="{C990EB0D-F7F0-4618-BB7D-9CB0616794BD}" destId="{41A7438B-5C03-43CD-B983-FB27730FFDFA}" srcOrd="0" destOrd="0" presId="urn:microsoft.com/office/officeart/2005/8/layout/hList9"/>
    <dgm:cxn modelId="{70DF24FC-B1F7-4181-B0C0-8A94EA639F31}" type="presOf" srcId="{FEEBCB12-78BB-4DCE-83DC-0047EE7A9726}" destId="{E5C093E2-B9B0-4AE0-8348-E7FA4ED31315}" srcOrd="0" destOrd="0" presId="urn:microsoft.com/office/officeart/2005/8/layout/hList9"/>
    <dgm:cxn modelId="{49E857E6-BFD7-456B-9BCE-40CFE5FF9486}" type="presParOf" srcId="{E5C093E2-B9B0-4AE0-8348-E7FA4ED31315}" destId="{5952B5A3-784C-445E-860D-AB44B13F1E74}" srcOrd="0" destOrd="0" presId="urn:microsoft.com/office/officeart/2005/8/layout/hList9"/>
    <dgm:cxn modelId="{BEC8202B-3DD8-4A63-84C8-B920C81F6F77}" type="presParOf" srcId="{E5C093E2-B9B0-4AE0-8348-E7FA4ED31315}" destId="{89D77811-E3E6-4890-BC68-161E22FDF9F6}" srcOrd="1" destOrd="0" presId="urn:microsoft.com/office/officeart/2005/8/layout/hList9"/>
    <dgm:cxn modelId="{0FA8BB8F-4C15-4AE6-BD93-AE989EE04AB6}" type="presParOf" srcId="{89D77811-E3E6-4890-BC68-161E22FDF9F6}" destId="{C0B1A089-6EC5-4D5D-9389-2AA77E433AB1}" srcOrd="0" destOrd="0" presId="urn:microsoft.com/office/officeart/2005/8/layout/hList9"/>
    <dgm:cxn modelId="{CBEA4215-8184-422D-99F9-4A06B959911D}" type="presParOf" srcId="{89D77811-E3E6-4890-BC68-161E22FDF9F6}" destId="{1C2A6A47-DCCA-4CE1-96B2-8FEE60E03247}" srcOrd="1" destOrd="0" presId="urn:microsoft.com/office/officeart/2005/8/layout/hList9"/>
    <dgm:cxn modelId="{E8BE7C94-429F-4C6A-AE9E-07017FD27F0C}" type="presParOf" srcId="{1C2A6A47-DCCA-4CE1-96B2-8FEE60E03247}" destId="{C9F1806B-55D5-440E-A34F-E260A5CFDE52}" srcOrd="0" destOrd="0" presId="urn:microsoft.com/office/officeart/2005/8/layout/hList9"/>
    <dgm:cxn modelId="{8CCDCD8E-A135-43BF-97C6-6B4C0CF27E1B}" type="presParOf" srcId="{1C2A6A47-DCCA-4CE1-96B2-8FEE60E03247}" destId="{FCB1D945-E26A-4343-9981-8E8EABA28C45}" srcOrd="1" destOrd="0" presId="urn:microsoft.com/office/officeart/2005/8/layout/hList9"/>
    <dgm:cxn modelId="{14ADDE45-CD90-4C99-A420-EEBA46904CE8}" type="presParOf" srcId="{89D77811-E3E6-4890-BC68-161E22FDF9F6}" destId="{DCB278AC-638C-4ACF-B2D2-32D9B77191BA}" srcOrd="2" destOrd="0" presId="urn:microsoft.com/office/officeart/2005/8/layout/hList9"/>
    <dgm:cxn modelId="{8BE71783-9DDC-429C-A287-C68702521569}" type="presParOf" srcId="{DCB278AC-638C-4ACF-B2D2-32D9B77191BA}" destId="{41A7438B-5C03-43CD-B983-FB27730FFDFA}" srcOrd="0" destOrd="0" presId="urn:microsoft.com/office/officeart/2005/8/layout/hList9"/>
    <dgm:cxn modelId="{EDBA11F4-374F-4E82-9A77-ACE63B74F74F}" type="presParOf" srcId="{DCB278AC-638C-4ACF-B2D2-32D9B77191BA}" destId="{9E9AC8A6-C27E-4443-9487-423519DDE706}" srcOrd="1" destOrd="0" presId="urn:microsoft.com/office/officeart/2005/8/layout/hList9"/>
    <dgm:cxn modelId="{98F40198-C097-4B5E-BC56-CC1EC1C81C8D}" type="presParOf" srcId="{89D77811-E3E6-4890-BC68-161E22FDF9F6}" destId="{14997BDE-05DA-402F-8C12-E8625E0745EF}" srcOrd="3" destOrd="0" presId="urn:microsoft.com/office/officeart/2005/8/layout/hList9"/>
    <dgm:cxn modelId="{A5056254-B016-4253-AC48-367CC0E8080C}" type="presParOf" srcId="{14997BDE-05DA-402F-8C12-E8625E0745EF}" destId="{81088BE2-5DD8-4E49-A58B-B376DD97CFA7}" srcOrd="0" destOrd="0" presId="urn:microsoft.com/office/officeart/2005/8/layout/hList9"/>
    <dgm:cxn modelId="{98FD57AD-7BA9-4933-9671-A999DE9F0280}" type="presParOf" srcId="{14997BDE-05DA-402F-8C12-E8625E0745EF}" destId="{C832A02E-C8E1-480C-A56A-19451BCC08DA}" srcOrd="1" destOrd="0" presId="urn:microsoft.com/office/officeart/2005/8/layout/hList9"/>
    <dgm:cxn modelId="{9A91AB20-050E-438F-917E-8BF7F4C84C32}" type="presParOf" srcId="{E5C093E2-B9B0-4AE0-8348-E7FA4ED31315}" destId="{EA0EE814-5ADB-413B-88B1-ADE86D06C805}" srcOrd="2" destOrd="0" presId="urn:microsoft.com/office/officeart/2005/8/layout/hList9"/>
    <dgm:cxn modelId="{63ED584A-AD60-4E8E-89BB-B0AAB5823979}" type="presParOf" srcId="{E5C093E2-B9B0-4AE0-8348-E7FA4ED31315}" destId="{50547CC0-375A-4433-B330-1561BF07B600}" srcOrd="3" destOrd="0" presId="urn:microsoft.com/office/officeart/2005/8/layout/hList9"/>
    <dgm:cxn modelId="{BBD02693-0723-4271-9DCF-6FEF604B636F}" type="presParOf" srcId="{E5C093E2-B9B0-4AE0-8348-E7FA4ED31315}" destId="{632B8D0B-82AC-466C-9690-D924A122797D}" srcOrd="4" destOrd="0" presId="urn:microsoft.com/office/officeart/2005/8/layout/hList9"/>
    <dgm:cxn modelId="{A085FD1B-899F-49EE-815E-81070EFF0A25}" type="presParOf" srcId="{E5C093E2-B9B0-4AE0-8348-E7FA4ED31315}" destId="{60CC7B1F-B04D-44EC-956D-CAE2B012F31C}" srcOrd="5" destOrd="0" presId="urn:microsoft.com/office/officeart/2005/8/layout/hList9"/>
    <dgm:cxn modelId="{D98CA65D-AEC8-4B42-8FDE-C80FF0DB9879}" type="presParOf" srcId="{E5C093E2-B9B0-4AE0-8348-E7FA4ED31315}" destId="{E2C4E9EA-F09F-4257-A610-C7BF50BA558C}" srcOrd="6" destOrd="0" presId="urn:microsoft.com/office/officeart/2005/8/layout/hList9"/>
    <dgm:cxn modelId="{2A63D8ED-941A-48E9-930F-1D7858DBCBDB}" type="presParOf" srcId="{E2C4E9EA-F09F-4257-A610-C7BF50BA558C}" destId="{B718FED3-3171-4526-991E-20111326AC14}" srcOrd="0" destOrd="0" presId="urn:microsoft.com/office/officeart/2005/8/layout/hList9"/>
    <dgm:cxn modelId="{B626770D-9BFF-4E1D-845D-1F500248E63C}" type="presParOf" srcId="{E2C4E9EA-F09F-4257-A610-C7BF50BA558C}" destId="{2168E45F-AF6A-4CDA-8AF4-F3A88F8B12C6}" srcOrd="1" destOrd="0" presId="urn:microsoft.com/office/officeart/2005/8/layout/hList9"/>
    <dgm:cxn modelId="{5BEC1BCF-AE60-42F0-8570-58441044F6D8}" type="presParOf" srcId="{2168E45F-AF6A-4CDA-8AF4-F3A88F8B12C6}" destId="{1FAB8347-3239-4D55-983C-CC5B2FBF5566}" srcOrd="0" destOrd="0" presId="urn:microsoft.com/office/officeart/2005/8/layout/hList9"/>
    <dgm:cxn modelId="{62040198-E12A-4F2C-BCA4-0E1655DC951C}" type="presParOf" srcId="{2168E45F-AF6A-4CDA-8AF4-F3A88F8B12C6}" destId="{DDB94FB5-AC10-4328-981D-B2584EC51CFD}" srcOrd="1" destOrd="0" presId="urn:microsoft.com/office/officeart/2005/8/layout/hList9"/>
    <dgm:cxn modelId="{7A7A0B2A-3AA8-4FD7-BE3A-58F846F98884}" type="presParOf" srcId="{E2C4E9EA-F09F-4257-A610-C7BF50BA558C}" destId="{691F9428-8DAF-4E03-B769-A3F0AFD437E6}" srcOrd="2" destOrd="0" presId="urn:microsoft.com/office/officeart/2005/8/layout/hList9"/>
    <dgm:cxn modelId="{3B367CAC-1C1E-4393-A63F-2A8C7F3966F6}" type="presParOf" srcId="{691F9428-8DAF-4E03-B769-A3F0AFD437E6}" destId="{96ED6911-B6E4-46D5-A38E-5D183FCDF129}" srcOrd="0" destOrd="0" presId="urn:microsoft.com/office/officeart/2005/8/layout/hList9"/>
    <dgm:cxn modelId="{7350FBE7-CBF8-4299-BD17-FD98F5341B37}" type="presParOf" srcId="{691F9428-8DAF-4E03-B769-A3F0AFD437E6}" destId="{F05F9702-3E45-45A5-A688-93AE271A4647}" srcOrd="1" destOrd="0" presId="urn:microsoft.com/office/officeart/2005/8/layout/hList9"/>
    <dgm:cxn modelId="{F14C5E27-1FE3-4481-98D1-D739219547D5}" type="presParOf" srcId="{E2C4E9EA-F09F-4257-A610-C7BF50BA558C}" destId="{01BDE53F-83E2-4012-90E3-EC9084B9826A}" srcOrd="3" destOrd="0" presId="urn:microsoft.com/office/officeart/2005/8/layout/hList9"/>
    <dgm:cxn modelId="{DC4E9901-18A3-4EC8-8407-FECEBF5C8111}" type="presParOf" srcId="{01BDE53F-83E2-4012-90E3-EC9084B9826A}" destId="{638F5FE4-1100-45CF-B15B-40E3AA9A6C49}" srcOrd="0" destOrd="0" presId="urn:microsoft.com/office/officeart/2005/8/layout/hList9"/>
    <dgm:cxn modelId="{045AE171-DAE7-489A-943A-8BA1138ED170}" type="presParOf" srcId="{01BDE53F-83E2-4012-90E3-EC9084B9826A}" destId="{D4C62FF2-44E6-407E-9B99-E7AD61DCACFE}" srcOrd="1" destOrd="0" presId="urn:microsoft.com/office/officeart/2005/8/layout/hList9"/>
    <dgm:cxn modelId="{DF6F3545-D1D2-46A5-A1B3-DD1F51C52018}" type="presParOf" srcId="{E2C4E9EA-F09F-4257-A610-C7BF50BA558C}" destId="{5C09B6B5-18E1-41A4-80BF-C1C91A8E94B9}" srcOrd="4" destOrd="0" presId="urn:microsoft.com/office/officeart/2005/8/layout/hList9"/>
    <dgm:cxn modelId="{004D26C9-9FDE-4FF8-B30F-FDCDABBF653E}" type="presParOf" srcId="{5C09B6B5-18E1-41A4-80BF-C1C91A8E94B9}" destId="{6EB3D470-7F7B-4B23-8DC3-460B3872A570}" srcOrd="0" destOrd="0" presId="urn:microsoft.com/office/officeart/2005/8/layout/hList9"/>
    <dgm:cxn modelId="{311EE8B4-513B-4389-8B6B-236E931ABEBF}" type="presParOf" srcId="{5C09B6B5-18E1-41A4-80BF-C1C91A8E94B9}" destId="{F2438830-2392-4716-A353-3F1327F6FA6C}" srcOrd="1" destOrd="0" presId="urn:microsoft.com/office/officeart/2005/8/layout/hList9"/>
    <dgm:cxn modelId="{B887C0C4-ABA0-4F82-878A-43FAEF89CF5A}" type="presParOf" srcId="{E5C093E2-B9B0-4AE0-8348-E7FA4ED31315}" destId="{2BEAC469-479C-466A-9DDA-D829F44DBFFF}" srcOrd="7" destOrd="0" presId="urn:microsoft.com/office/officeart/2005/8/layout/hList9"/>
    <dgm:cxn modelId="{969101C3-61BE-4C2B-BB15-BC4E6D840225}" type="presParOf" srcId="{E5C093E2-B9B0-4AE0-8348-E7FA4ED31315}" destId="{551F601C-CC70-4CE1-8F44-B93641155479}" srcOrd="8" destOrd="0" presId="urn:microsoft.com/office/officeart/2005/8/layout/hList9"/>
    <dgm:cxn modelId="{74914285-B622-4A1B-85E7-B22D67701086}" type="presParOf" srcId="{E5C093E2-B9B0-4AE0-8348-E7FA4ED31315}" destId="{FD448A6E-C31D-4B6A-81E9-4859B1185BC3}" srcOrd="9" destOrd="0" presId="urn:microsoft.com/office/officeart/2005/8/layout/hList9"/>
    <dgm:cxn modelId="{C8DF56E2-5FB2-40D1-8E5B-ED53365FE358}" type="presParOf" srcId="{E5C093E2-B9B0-4AE0-8348-E7FA4ED31315}" destId="{14422E9D-EA13-475A-99B8-E7F86B209197}" srcOrd="10" destOrd="0" presId="urn:microsoft.com/office/officeart/2005/8/layout/hList9"/>
    <dgm:cxn modelId="{8D0AFD9B-B7E9-4F59-A7AE-0709295513C1}" type="presParOf" srcId="{E5C093E2-B9B0-4AE0-8348-E7FA4ED31315}" destId="{1BB8F83B-7832-4491-A26F-ECF81951F74D}" srcOrd="11" destOrd="0" presId="urn:microsoft.com/office/officeart/2005/8/layout/hList9"/>
    <dgm:cxn modelId="{1F438A69-F5E8-469A-B031-5AD30B6271D5}" type="presParOf" srcId="{1BB8F83B-7832-4491-A26F-ECF81951F74D}" destId="{48E91427-69E9-47B8-8CAB-A533A0943B79}" srcOrd="0" destOrd="0" presId="urn:microsoft.com/office/officeart/2005/8/layout/hList9"/>
    <dgm:cxn modelId="{E4BDB2EF-56B9-4672-B743-F89DD9AB1479}" type="presParOf" srcId="{1BB8F83B-7832-4491-A26F-ECF81951F74D}" destId="{BA4B3867-2220-4999-98ED-0708F08BA161}" srcOrd="1" destOrd="0" presId="urn:microsoft.com/office/officeart/2005/8/layout/hList9"/>
    <dgm:cxn modelId="{F214B17F-FF2D-4C12-98F2-CF097FC44486}" type="presParOf" srcId="{BA4B3867-2220-4999-98ED-0708F08BA161}" destId="{CAF4F3E0-35CA-4329-8E30-62D60E615851}" srcOrd="0" destOrd="0" presId="urn:microsoft.com/office/officeart/2005/8/layout/hList9"/>
    <dgm:cxn modelId="{E0F7C402-37E3-4AAC-9C4F-6AD792EF6B3D}" type="presParOf" srcId="{BA4B3867-2220-4999-98ED-0708F08BA161}" destId="{A61DBE5F-93F1-4AFB-9639-0AD27FB9C5A3}" srcOrd="1" destOrd="0" presId="urn:microsoft.com/office/officeart/2005/8/layout/hList9"/>
    <dgm:cxn modelId="{DC890C75-01D9-4F0D-AC91-ECE22BF931FC}" type="presParOf" srcId="{1BB8F83B-7832-4491-A26F-ECF81951F74D}" destId="{AC04C3F6-C7A8-48AF-BB6D-31F669691576}" srcOrd="2" destOrd="0" presId="urn:microsoft.com/office/officeart/2005/8/layout/hList9"/>
    <dgm:cxn modelId="{F6B930B8-688F-4521-8D8E-D411FF34A590}" type="presParOf" srcId="{AC04C3F6-C7A8-48AF-BB6D-31F669691576}" destId="{5326B08F-937F-43D4-8B91-02C5AB882737}" srcOrd="0" destOrd="0" presId="urn:microsoft.com/office/officeart/2005/8/layout/hList9"/>
    <dgm:cxn modelId="{89295923-303D-4655-9CB4-1897EBC1441C}" type="presParOf" srcId="{AC04C3F6-C7A8-48AF-BB6D-31F669691576}" destId="{B303453E-8E0C-419D-AEF0-8105EECB9510}" srcOrd="1" destOrd="0" presId="urn:microsoft.com/office/officeart/2005/8/layout/hList9"/>
    <dgm:cxn modelId="{D9CA22CE-A6A8-4799-B62E-0267CF11BF49}" type="presParOf" srcId="{1BB8F83B-7832-4491-A26F-ECF81951F74D}" destId="{E7121DEE-A76A-4249-9E00-D4BA337C66FA}" srcOrd="3" destOrd="0" presId="urn:microsoft.com/office/officeart/2005/8/layout/hList9"/>
    <dgm:cxn modelId="{4EB106B8-B451-4BEA-AB9B-80196AE62BF5}" type="presParOf" srcId="{E7121DEE-A76A-4249-9E00-D4BA337C66FA}" destId="{73E09C06-8C9D-4082-AAD3-77A87A2D850C}" srcOrd="0" destOrd="0" presId="urn:microsoft.com/office/officeart/2005/8/layout/hList9"/>
    <dgm:cxn modelId="{5857876A-179E-4FC0-87E1-4D811DD117E0}" type="presParOf" srcId="{E7121DEE-A76A-4249-9E00-D4BA337C66FA}" destId="{A5EFE7F9-9856-4381-90A5-F4073DFA4FA0}" srcOrd="1" destOrd="0" presId="urn:microsoft.com/office/officeart/2005/8/layout/hList9"/>
    <dgm:cxn modelId="{AF9D7B7E-B61F-4225-A398-10E72D9A901E}" type="presParOf" srcId="{1BB8F83B-7832-4491-A26F-ECF81951F74D}" destId="{9966885F-9169-4DF1-96E3-56C1CA896BBD}" srcOrd="4" destOrd="0" presId="urn:microsoft.com/office/officeart/2005/8/layout/hList9"/>
    <dgm:cxn modelId="{21C09575-A66B-40F5-8DF7-C584AB5AC1D8}" type="presParOf" srcId="{9966885F-9169-4DF1-96E3-56C1CA896BBD}" destId="{17D17156-C521-4A03-8D6F-38FDBB8914C8}" srcOrd="0" destOrd="0" presId="urn:microsoft.com/office/officeart/2005/8/layout/hList9"/>
    <dgm:cxn modelId="{684DA65B-E468-4C03-854D-321C2D1FBB62}" type="presParOf" srcId="{9966885F-9169-4DF1-96E3-56C1CA896BBD}" destId="{A397B273-C8FF-43FB-A4BD-78AB6272E85E}" srcOrd="1" destOrd="0" presId="urn:microsoft.com/office/officeart/2005/8/layout/hList9"/>
    <dgm:cxn modelId="{2C6571C3-94F3-46BF-B0C8-9EC7A311A2F0}" type="presParOf" srcId="{E5C093E2-B9B0-4AE0-8348-E7FA4ED31315}" destId="{8F730C56-F0A0-46D3-9257-4FD264F3CC68}" srcOrd="12" destOrd="0" presId="urn:microsoft.com/office/officeart/2005/8/layout/hList9"/>
    <dgm:cxn modelId="{2E3019B3-791A-4C4D-BEAD-AED802DF3486}" type="presParOf" srcId="{E5C093E2-B9B0-4AE0-8348-E7FA4ED31315}" destId="{D02170E7-1BA5-43D6-BE64-9CE22218352A}" srcOrd="13" destOrd="0" presId="urn:microsoft.com/office/officeart/2005/8/layout/hList9"/>
    <dgm:cxn modelId="{05BD6742-26A9-4AB0-9DDA-CC6555D8DDDB}" type="presParOf" srcId="{E5C093E2-B9B0-4AE0-8348-E7FA4ED31315}" destId="{77B0FC3D-2A24-4D8F-BCE2-02AACAF3E47C}" srcOrd="14" destOrd="0" presId="urn:microsoft.com/office/officeart/2005/8/layout/hList9"/>
    <dgm:cxn modelId="{6B7A1EE0-55C7-49B8-8D7E-F9B910ECFA2E}" type="presParOf" srcId="{E5C093E2-B9B0-4AE0-8348-E7FA4ED31315}" destId="{F39D8DF8-D134-436B-B40D-F871D2F2AAD8}" srcOrd="15" destOrd="0" presId="urn:microsoft.com/office/officeart/2005/8/layout/hList9"/>
    <dgm:cxn modelId="{61B9F42A-AE02-4A22-82D3-7FD72BD6DA97}" type="presParOf" srcId="{E5C093E2-B9B0-4AE0-8348-E7FA4ED31315}" destId="{35D60FAE-C5E0-4389-B8CE-93AD845A404A}" srcOrd="16" destOrd="0" presId="urn:microsoft.com/office/officeart/2005/8/layout/hList9"/>
    <dgm:cxn modelId="{378C71B2-F43F-4210-B963-EA2D265B8C45}" type="presParOf" srcId="{35D60FAE-C5E0-4389-B8CE-93AD845A404A}" destId="{58CABFA2-86CD-43A4-8090-C5F4A19C5260}" srcOrd="0" destOrd="0" presId="urn:microsoft.com/office/officeart/2005/8/layout/hList9"/>
    <dgm:cxn modelId="{A6F59B41-B259-4D3F-AF43-5A184AE026A7}" type="presParOf" srcId="{35D60FAE-C5E0-4389-B8CE-93AD845A404A}" destId="{702BDE7C-F90F-4416-B3A9-C34831900B60}" srcOrd="1" destOrd="0" presId="urn:microsoft.com/office/officeart/2005/8/layout/hList9"/>
    <dgm:cxn modelId="{CEF4555E-1175-4A03-95C7-094499D589E5}" type="presParOf" srcId="{702BDE7C-F90F-4416-B3A9-C34831900B60}" destId="{49E79121-23E0-4A05-BE30-BF53F8DB9B07}" srcOrd="0" destOrd="0" presId="urn:microsoft.com/office/officeart/2005/8/layout/hList9"/>
    <dgm:cxn modelId="{AAC39C58-5A46-44AB-8F76-0758FBEF22D8}" type="presParOf" srcId="{702BDE7C-F90F-4416-B3A9-C34831900B60}" destId="{12C36434-B9CD-4488-ABD2-517BC2D15C91}" srcOrd="1" destOrd="0" presId="urn:microsoft.com/office/officeart/2005/8/layout/hList9"/>
    <dgm:cxn modelId="{87E161AD-D90E-4495-9D2B-C1EB23E75A68}" type="presParOf" srcId="{E5C093E2-B9B0-4AE0-8348-E7FA4ED31315}" destId="{4D9D4662-CC8B-405C-9048-B0E62803C749}" srcOrd="17" destOrd="0" presId="urn:microsoft.com/office/officeart/2005/8/layout/hList9"/>
    <dgm:cxn modelId="{52F66C7F-F1C2-4665-88BC-FDBEDC3FBF50}" type="presParOf" srcId="{E5C093E2-B9B0-4AE0-8348-E7FA4ED31315}" destId="{69400345-7B1C-41B9-91AD-32745F0FB337}" srcOrd="18" destOrd="0" presId="urn:microsoft.com/office/officeart/2005/8/layout/hList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0D47129-3915-4DE4-9F9A-55AA3A514738}" type="doc">
      <dgm:prSet loTypeId="urn:microsoft.com/office/officeart/2005/8/layout/architecture" loCatId="list" qsTypeId="urn:microsoft.com/office/officeart/2005/8/quickstyle/simple4" qsCatId="simple" csTypeId="urn:microsoft.com/office/officeart/2005/8/colors/accent1_3" csCatId="accent1" phldr="1"/>
      <dgm:spPr/>
      <dgm:t>
        <a:bodyPr/>
        <a:lstStyle/>
        <a:p>
          <a:endParaRPr lang="de-DE"/>
        </a:p>
      </dgm:t>
    </dgm:pt>
    <dgm:pt modelId="{0FBB72A0-E3D0-46C9-B7F4-256E93517197}">
      <dgm:prSet phldrT="[Text]"/>
      <dgm:spPr/>
      <dgm:t>
        <a:bodyPr/>
        <a:lstStyle/>
        <a:p>
          <a:pPr>
            <a:buFont typeface="Arial" panose="020B0604020202020204" pitchFamily="34" charset="0"/>
            <a:buChar char="•"/>
          </a:pPr>
          <a:r>
            <a:rPr lang="pl-PL" dirty="0"/>
            <a:t>Combines public and private cloud</a:t>
          </a:r>
          <a:endParaRPr lang="de-DE" dirty="0"/>
        </a:p>
      </dgm:t>
    </dgm:pt>
    <dgm:pt modelId="{81339021-347F-4A44-9DE2-DC16DB4AECBA}" type="parTrans" cxnId="{B4BC3C82-870F-40C8-BD35-A5828997A2DB}">
      <dgm:prSet/>
      <dgm:spPr/>
      <dgm:t>
        <a:bodyPr/>
        <a:lstStyle/>
        <a:p>
          <a:endParaRPr lang="de-DE"/>
        </a:p>
      </dgm:t>
    </dgm:pt>
    <dgm:pt modelId="{016799FA-1CEC-4728-8441-20ABF407AE27}" type="sibTrans" cxnId="{B4BC3C82-870F-40C8-BD35-A5828997A2DB}">
      <dgm:prSet/>
      <dgm:spPr/>
      <dgm:t>
        <a:bodyPr/>
        <a:lstStyle/>
        <a:p>
          <a:endParaRPr lang="de-DE"/>
        </a:p>
      </dgm:t>
    </dgm:pt>
    <dgm:pt modelId="{BFA008BA-B84D-4EED-A594-D1D7163EBDA1}">
      <dgm:prSet/>
      <dgm:spPr/>
      <dgm:t>
        <a:bodyPr/>
        <a:lstStyle/>
        <a:p>
          <a:r>
            <a:rPr lang="pl-PL" dirty="0"/>
            <a:t>Integrates on-premises IT services with cloud provider</a:t>
          </a:r>
          <a:endParaRPr lang="de-DE" dirty="0"/>
        </a:p>
      </dgm:t>
    </dgm:pt>
    <dgm:pt modelId="{1EB1C68A-2AB4-42E7-824D-A67649F69230}" type="sibTrans" cxnId="{4466C12B-7BD6-4106-90C8-3D1ACB9824B0}">
      <dgm:prSet/>
      <dgm:spPr/>
      <dgm:t>
        <a:bodyPr/>
        <a:lstStyle/>
        <a:p>
          <a:endParaRPr lang="de-DE"/>
        </a:p>
      </dgm:t>
    </dgm:pt>
    <dgm:pt modelId="{056496E2-FB5D-43FC-B0DC-C723F4567147}" type="parTrans" cxnId="{4466C12B-7BD6-4106-90C8-3D1ACB9824B0}">
      <dgm:prSet/>
      <dgm:spPr/>
      <dgm:t>
        <a:bodyPr/>
        <a:lstStyle/>
        <a:p>
          <a:endParaRPr lang="de-DE"/>
        </a:p>
      </dgm:t>
    </dgm:pt>
    <dgm:pt modelId="{4492686E-60DE-4E8F-ACCD-33FC6BDD873A}">
      <dgm:prSet/>
      <dgm:spPr/>
      <dgm:t>
        <a:bodyPr/>
        <a:lstStyle/>
        <a:p>
          <a:r>
            <a:rPr lang="pl-PL" dirty="0"/>
            <a:t>Could be used as interim solution before moving to a public cloud</a:t>
          </a:r>
          <a:endParaRPr lang="de-DE" dirty="0"/>
        </a:p>
      </dgm:t>
    </dgm:pt>
    <dgm:pt modelId="{099488FB-FAD9-4A93-AE7A-345AA8D5832C}" type="sibTrans" cxnId="{573954A9-6293-4909-A007-9BDAA83095C6}">
      <dgm:prSet/>
      <dgm:spPr/>
      <dgm:t>
        <a:bodyPr/>
        <a:lstStyle/>
        <a:p>
          <a:endParaRPr lang="de-DE"/>
        </a:p>
      </dgm:t>
    </dgm:pt>
    <dgm:pt modelId="{2D6F0A90-02E4-45DD-A041-FC00BAAFEA0C}" type="parTrans" cxnId="{573954A9-6293-4909-A007-9BDAA83095C6}">
      <dgm:prSet/>
      <dgm:spPr/>
      <dgm:t>
        <a:bodyPr/>
        <a:lstStyle/>
        <a:p>
          <a:endParaRPr lang="de-DE"/>
        </a:p>
      </dgm:t>
    </dgm:pt>
    <dgm:pt modelId="{CE227D5B-0044-4077-BC39-CBD6EA4132BE}">
      <dgm:prSet/>
      <dgm:spPr/>
      <dgm:t>
        <a:bodyPr/>
        <a:lstStyle/>
        <a:p>
          <a:r>
            <a:rPr lang="pl-PL" dirty="0"/>
            <a:t>This approach allows the advantage of data security in private cloud and the scalibility of public cloud</a:t>
          </a:r>
        </a:p>
      </dgm:t>
    </dgm:pt>
    <dgm:pt modelId="{A59A457F-1108-4AD4-8C27-748F38FAA502}" type="parTrans" cxnId="{BE7ADC17-7574-480C-B2F2-A7943663C5DE}">
      <dgm:prSet/>
      <dgm:spPr/>
      <dgm:t>
        <a:bodyPr/>
        <a:lstStyle/>
        <a:p>
          <a:endParaRPr lang="de-DE"/>
        </a:p>
      </dgm:t>
    </dgm:pt>
    <dgm:pt modelId="{5A89368F-BAA9-4996-92D3-1AFE13F2EC28}" type="sibTrans" cxnId="{BE7ADC17-7574-480C-B2F2-A7943663C5DE}">
      <dgm:prSet/>
      <dgm:spPr/>
      <dgm:t>
        <a:bodyPr/>
        <a:lstStyle/>
        <a:p>
          <a:endParaRPr lang="de-DE"/>
        </a:p>
      </dgm:t>
    </dgm:pt>
    <dgm:pt modelId="{C77BE987-7ACE-44DA-A371-8460B9AEFB80}">
      <dgm:prSet/>
      <dgm:spPr/>
      <dgm:t>
        <a:bodyPr/>
        <a:lstStyle/>
        <a:p>
          <a:r>
            <a:rPr lang="pl-PL" dirty="0"/>
            <a:t>Flexibility – the option to utilize resources from the private and public cloud</a:t>
          </a:r>
        </a:p>
      </dgm:t>
    </dgm:pt>
    <dgm:pt modelId="{E31BD6E4-7D2F-4043-8D55-11F67ED43837}" type="parTrans" cxnId="{5923A58F-8C29-45E7-BA5E-5C6E4CDA0EC2}">
      <dgm:prSet/>
      <dgm:spPr/>
      <dgm:t>
        <a:bodyPr/>
        <a:lstStyle/>
        <a:p>
          <a:endParaRPr lang="de-DE"/>
        </a:p>
      </dgm:t>
    </dgm:pt>
    <dgm:pt modelId="{DC49CC10-B9B4-4840-8D06-BD7DA00AE498}" type="sibTrans" cxnId="{5923A58F-8C29-45E7-BA5E-5C6E4CDA0EC2}">
      <dgm:prSet/>
      <dgm:spPr/>
      <dgm:t>
        <a:bodyPr/>
        <a:lstStyle/>
        <a:p>
          <a:endParaRPr lang="de-DE"/>
        </a:p>
      </dgm:t>
    </dgm:pt>
    <dgm:pt modelId="{A94DA42A-7E71-452B-82CC-3ACD69F5EF9B}">
      <dgm:prSet/>
      <dgm:spPr/>
      <dgm:t>
        <a:bodyPr/>
        <a:lstStyle/>
        <a:p>
          <a:r>
            <a:rPr lang="pl-PL"/>
            <a:t>Control over spending - uses the cloud which offers cheaper resources</a:t>
          </a:r>
          <a:endParaRPr lang="pl-PL" dirty="0"/>
        </a:p>
      </dgm:t>
    </dgm:pt>
    <dgm:pt modelId="{CB5FBD01-2B03-4B04-9005-5A3FFC2698F8}" type="parTrans" cxnId="{DF8E6831-BB79-4BCF-9657-CFF3D0E1FE74}">
      <dgm:prSet/>
      <dgm:spPr/>
      <dgm:t>
        <a:bodyPr/>
        <a:lstStyle/>
        <a:p>
          <a:endParaRPr lang="de-DE"/>
        </a:p>
      </dgm:t>
    </dgm:pt>
    <dgm:pt modelId="{7A6C223C-4703-4BEB-9BAF-36B776F45728}" type="sibTrans" cxnId="{DF8E6831-BB79-4BCF-9657-CFF3D0E1FE74}">
      <dgm:prSet/>
      <dgm:spPr/>
      <dgm:t>
        <a:bodyPr/>
        <a:lstStyle/>
        <a:p>
          <a:endParaRPr lang="de-DE"/>
        </a:p>
      </dgm:t>
    </dgm:pt>
    <dgm:pt modelId="{DA400B75-6DB1-48EB-9B40-3BCA09772E59}">
      <dgm:prSet/>
      <dgm:spPr/>
      <dgm:t>
        <a:bodyPr/>
        <a:lstStyle/>
        <a:p>
          <a:r>
            <a:rPr lang="pl-PL"/>
            <a:t>Deployment – a combination of strong sides ot the private and public cloud</a:t>
          </a:r>
          <a:endParaRPr lang="de-DE" dirty="0"/>
        </a:p>
      </dgm:t>
    </dgm:pt>
    <dgm:pt modelId="{83A9DCFB-2CCA-4D63-9F49-4460227E1648}" type="parTrans" cxnId="{9C3B737A-03F6-431B-B23F-D57EC0ABFD34}">
      <dgm:prSet/>
      <dgm:spPr/>
      <dgm:t>
        <a:bodyPr/>
        <a:lstStyle/>
        <a:p>
          <a:endParaRPr lang="de-DE"/>
        </a:p>
      </dgm:t>
    </dgm:pt>
    <dgm:pt modelId="{9FBBEAE4-6FB5-4DB8-B44B-AD698D744D60}" type="sibTrans" cxnId="{9C3B737A-03F6-431B-B23F-D57EC0ABFD34}">
      <dgm:prSet/>
      <dgm:spPr/>
      <dgm:t>
        <a:bodyPr/>
        <a:lstStyle/>
        <a:p>
          <a:endParaRPr lang="de-DE"/>
        </a:p>
      </dgm:t>
    </dgm:pt>
    <dgm:pt modelId="{5932925A-B293-4E35-BCE6-7803D71A73FB}" type="pres">
      <dgm:prSet presAssocID="{60D47129-3915-4DE4-9F9A-55AA3A514738}" presName="Name0" presStyleCnt="0">
        <dgm:presLayoutVars>
          <dgm:chPref val="1"/>
          <dgm:dir/>
          <dgm:animOne val="branch"/>
          <dgm:animLvl val="lvl"/>
          <dgm:resizeHandles/>
        </dgm:presLayoutVars>
      </dgm:prSet>
      <dgm:spPr/>
    </dgm:pt>
    <dgm:pt modelId="{D8C8C4F8-0A00-477C-8BB5-BD3CB5F4F11A}" type="pres">
      <dgm:prSet presAssocID="{0FBB72A0-E3D0-46C9-B7F4-256E93517197}" presName="vertOne" presStyleCnt="0"/>
      <dgm:spPr/>
    </dgm:pt>
    <dgm:pt modelId="{D6B611F3-F744-47E6-8C53-3235FF6AD37D}" type="pres">
      <dgm:prSet presAssocID="{0FBB72A0-E3D0-46C9-B7F4-256E93517197}" presName="txOne" presStyleLbl="node0" presStyleIdx="0" presStyleCnt="3">
        <dgm:presLayoutVars>
          <dgm:chPref val="3"/>
        </dgm:presLayoutVars>
      </dgm:prSet>
      <dgm:spPr/>
    </dgm:pt>
    <dgm:pt modelId="{8FE22A73-CB49-42FC-BE3A-D0725FA07D27}" type="pres">
      <dgm:prSet presAssocID="{0FBB72A0-E3D0-46C9-B7F4-256E93517197}" presName="parTransOne" presStyleCnt="0"/>
      <dgm:spPr/>
    </dgm:pt>
    <dgm:pt modelId="{23553E09-3E3A-4157-8713-EF99D8CE9037}" type="pres">
      <dgm:prSet presAssocID="{0FBB72A0-E3D0-46C9-B7F4-256E93517197}" presName="horzOne" presStyleCnt="0"/>
      <dgm:spPr/>
    </dgm:pt>
    <dgm:pt modelId="{50CB8F9B-CD1B-4F53-BB4C-A6A02B26CCEB}" type="pres">
      <dgm:prSet presAssocID="{BFA008BA-B84D-4EED-A594-D1D7163EBDA1}" presName="vertTwo" presStyleCnt="0"/>
      <dgm:spPr/>
    </dgm:pt>
    <dgm:pt modelId="{A6986AF3-A6DE-48FB-A6C7-70FF7CB1F84D}" type="pres">
      <dgm:prSet presAssocID="{BFA008BA-B84D-4EED-A594-D1D7163EBDA1}" presName="txTwo" presStyleLbl="node2" presStyleIdx="0" presStyleCnt="4">
        <dgm:presLayoutVars>
          <dgm:chPref val="3"/>
        </dgm:presLayoutVars>
      </dgm:prSet>
      <dgm:spPr/>
    </dgm:pt>
    <dgm:pt modelId="{433AAB4C-9D61-4AC3-9484-4A10D1376052}" type="pres">
      <dgm:prSet presAssocID="{BFA008BA-B84D-4EED-A594-D1D7163EBDA1}" presName="horzTwo" presStyleCnt="0"/>
      <dgm:spPr/>
    </dgm:pt>
    <dgm:pt modelId="{7A132F54-0F64-436B-A325-CD746F95C0C2}" type="pres">
      <dgm:prSet presAssocID="{1EB1C68A-2AB4-42E7-824D-A67649F69230}" presName="sibSpaceTwo" presStyleCnt="0"/>
      <dgm:spPr/>
    </dgm:pt>
    <dgm:pt modelId="{C456520A-0613-4716-9AFA-99A5CFB1FF6A}" type="pres">
      <dgm:prSet presAssocID="{4492686E-60DE-4E8F-ACCD-33FC6BDD873A}" presName="vertTwo" presStyleCnt="0"/>
      <dgm:spPr/>
    </dgm:pt>
    <dgm:pt modelId="{95D471CF-C845-4A15-9E39-D4E7203F057F}" type="pres">
      <dgm:prSet presAssocID="{4492686E-60DE-4E8F-ACCD-33FC6BDD873A}" presName="txTwo" presStyleLbl="node2" presStyleIdx="1" presStyleCnt="4">
        <dgm:presLayoutVars>
          <dgm:chPref val="3"/>
        </dgm:presLayoutVars>
      </dgm:prSet>
      <dgm:spPr/>
    </dgm:pt>
    <dgm:pt modelId="{40A16B7D-7D69-4AF6-9631-00F81BEE6563}" type="pres">
      <dgm:prSet presAssocID="{4492686E-60DE-4E8F-ACCD-33FC6BDD873A}" presName="horzTwo" presStyleCnt="0"/>
      <dgm:spPr/>
    </dgm:pt>
    <dgm:pt modelId="{A2205FD5-FF62-4881-9DE5-6438060040EA}" type="pres">
      <dgm:prSet presAssocID="{099488FB-FAD9-4A93-AE7A-345AA8D5832C}" presName="sibSpaceTwo" presStyleCnt="0"/>
      <dgm:spPr/>
    </dgm:pt>
    <dgm:pt modelId="{EE121D1A-2657-4CB7-8ED9-716EA3908267}" type="pres">
      <dgm:prSet presAssocID="{CE227D5B-0044-4077-BC39-CBD6EA4132BE}" presName="vertTwo" presStyleCnt="0"/>
      <dgm:spPr/>
    </dgm:pt>
    <dgm:pt modelId="{A5B8D06B-C5BA-414D-990D-89722ED69F83}" type="pres">
      <dgm:prSet presAssocID="{CE227D5B-0044-4077-BC39-CBD6EA4132BE}" presName="txTwo" presStyleLbl="node2" presStyleIdx="2" presStyleCnt="4">
        <dgm:presLayoutVars>
          <dgm:chPref val="3"/>
        </dgm:presLayoutVars>
      </dgm:prSet>
      <dgm:spPr/>
    </dgm:pt>
    <dgm:pt modelId="{A05FD963-7777-4795-B057-7D0ABD1ACF78}" type="pres">
      <dgm:prSet presAssocID="{CE227D5B-0044-4077-BC39-CBD6EA4132BE}" presName="horzTwo" presStyleCnt="0"/>
      <dgm:spPr/>
    </dgm:pt>
    <dgm:pt modelId="{AB608616-B1A3-400B-AA46-33A8A2433F43}" type="pres">
      <dgm:prSet presAssocID="{5A89368F-BAA9-4996-92D3-1AFE13F2EC28}" presName="sibSpaceTwo" presStyleCnt="0"/>
      <dgm:spPr/>
    </dgm:pt>
    <dgm:pt modelId="{3049CA84-2339-4906-A2AC-009BF886F0CE}" type="pres">
      <dgm:prSet presAssocID="{C77BE987-7ACE-44DA-A371-8460B9AEFB80}" presName="vertTwo" presStyleCnt="0"/>
      <dgm:spPr/>
    </dgm:pt>
    <dgm:pt modelId="{048FF0AD-AC85-4B38-B18C-D0D0E95BA0FC}" type="pres">
      <dgm:prSet presAssocID="{C77BE987-7ACE-44DA-A371-8460B9AEFB80}" presName="txTwo" presStyleLbl="node2" presStyleIdx="3" presStyleCnt="4">
        <dgm:presLayoutVars>
          <dgm:chPref val="3"/>
        </dgm:presLayoutVars>
      </dgm:prSet>
      <dgm:spPr/>
    </dgm:pt>
    <dgm:pt modelId="{71505483-DAA7-42BA-BB0F-67892E51DEA9}" type="pres">
      <dgm:prSet presAssocID="{C77BE987-7ACE-44DA-A371-8460B9AEFB80}" presName="horzTwo" presStyleCnt="0"/>
      <dgm:spPr/>
    </dgm:pt>
    <dgm:pt modelId="{DA4001E4-8BC9-4D9C-8D68-D46C45E4CF15}" type="pres">
      <dgm:prSet presAssocID="{016799FA-1CEC-4728-8441-20ABF407AE27}" presName="sibSpaceOne" presStyleCnt="0"/>
      <dgm:spPr/>
    </dgm:pt>
    <dgm:pt modelId="{44E65E4D-111A-4E94-BD39-E86C10D8D427}" type="pres">
      <dgm:prSet presAssocID="{A94DA42A-7E71-452B-82CC-3ACD69F5EF9B}" presName="vertOne" presStyleCnt="0"/>
      <dgm:spPr/>
    </dgm:pt>
    <dgm:pt modelId="{8EAB00A8-CEC1-4EE3-A1C3-4E2A15C021BF}" type="pres">
      <dgm:prSet presAssocID="{A94DA42A-7E71-452B-82CC-3ACD69F5EF9B}" presName="txOne" presStyleLbl="node0" presStyleIdx="1" presStyleCnt="3">
        <dgm:presLayoutVars>
          <dgm:chPref val="3"/>
        </dgm:presLayoutVars>
      </dgm:prSet>
      <dgm:spPr/>
    </dgm:pt>
    <dgm:pt modelId="{DC657C2D-9BD0-491E-BBFE-8D7A47101F1E}" type="pres">
      <dgm:prSet presAssocID="{A94DA42A-7E71-452B-82CC-3ACD69F5EF9B}" presName="horzOne" presStyleCnt="0"/>
      <dgm:spPr/>
    </dgm:pt>
    <dgm:pt modelId="{4E28A0CB-587B-4DA2-B27C-DE30CCF5EAE0}" type="pres">
      <dgm:prSet presAssocID="{7A6C223C-4703-4BEB-9BAF-36B776F45728}" presName="sibSpaceOne" presStyleCnt="0"/>
      <dgm:spPr/>
    </dgm:pt>
    <dgm:pt modelId="{4E78CC6A-4441-4CD4-9881-B62C49C16A9A}" type="pres">
      <dgm:prSet presAssocID="{DA400B75-6DB1-48EB-9B40-3BCA09772E59}" presName="vertOne" presStyleCnt="0"/>
      <dgm:spPr/>
    </dgm:pt>
    <dgm:pt modelId="{629BBBE9-B88D-4397-8B15-1F9C411E28A0}" type="pres">
      <dgm:prSet presAssocID="{DA400B75-6DB1-48EB-9B40-3BCA09772E59}" presName="txOne" presStyleLbl="node0" presStyleIdx="2" presStyleCnt="3">
        <dgm:presLayoutVars>
          <dgm:chPref val="3"/>
        </dgm:presLayoutVars>
      </dgm:prSet>
      <dgm:spPr/>
    </dgm:pt>
    <dgm:pt modelId="{9C34776B-035B-4B72-9888-29E31534AC2D}" type="pres">
      <dgm:prSet presAssocID="{DA400B75-6DB1-48EB-9B40-3BCA09772E59}" presName="horzOne" presStyleCnt="0"/>
      <dgm:spPr/>
    </dgm:pt>
  </dgm:ptLst>
  <dgm:cxnLst>
    <dgm:cxn modelId="{6F524111-8011-4686-B51E-8B05847A0E10}" type="presOf" srcId="{C77BE987-7ACE-44DA-A371-8460B9AEFB80}" destId="{048FF0AD-AC85-4B38-B18C-D0D0E95BA0FC}" srcOrd="0" destOrd="0" presId="urn:microsoft.com/office/officeart/2005/8/layout/architecture"/>
    <dgm:cxn modelId="{BE7ADC17-7574-480C-B2F2-A7943663C5DE}" srcId="{0FBB72A0-E3D0-46C9-B7F4-256E93517197}" destId="{CE227D5B-0044-4077-BC39-CBD6EA4132BE}" srcOrd="2" destOrd="0" parTransId="{A59A457F-1108-4AD4-8C27-748F38FAA502}" sibTransId="{5A89368F-BAA9-4996-92D3-1AFE13F2EC28}"/>
    <dgm:cxn modelId="{4466C12B-7BD6-4106-90C8-3D1ACB9824B0}" srcId="{0FBB72A0-E3D0-46C9-B7F4-256E93517197}" destId="{BFA008BA-B84D-4EED-A594-D1D7163EBDA1}" srcOrd="0" destOrd="0" parTransId="{056496E2-FB5D-43FC-B0DC-C723F4567147}" sibTransId="{1EB1C68A-2AB4-42E7-824D-A67649F69230}"/>
    <dgm:cxn modelId="{DF8E6831-BB79-4BCF-9657-CFF3D0E1FE74}" srcId="{60D47129-3915-4DE4-9F9A-55AA3A514738}" destId="{A94DA42A-7E71-452B-82CC-3ACD69F5EF9B}" srcOrd="1" destOrd="0" parTransId="{CB5FBD01-2B03-4B04-9005-5A3FFC2698F8}" sibTransId="{7A6C223C-4703-4BEB-9BAF-36B776F45728}"/>
    <dgm:cxn modelId="{8CCAAD39-C7CE-4C1C-A7A1-1C99263C1750}" type="presOf" srcId="{60D47129-3915-4DE4-9F9A-55AA3A514738}" destId="{5932925A-B293-4E35-BCE6-7803D71A73FB}" srcOrd="0" destOrd="0" presId="urn:microsoft.com/office/officeart/2005/8/layout/architecture"/>
    <dgm:cxn modelId="{9F11DD67-18DA-4214-8181-DF0DE8337E61}" type="presOf" srcId="{0FBB72A0-E3D0-46C9-B7F4-256E93517197}" destId="{D6B611F3-F744-47E6-8C53-3235FF6AD37D}" srcOrd="0" destOrd="0" presId="urn:microsoft.com/office/officeart/2005/8/layout/architecture"/>
    <dgm:cxn modelId="{250C666D-A1CE-4CE6-AEE0-B13EE4AB7F8F}" type="presOf" srcId="{CE227D5B-0044-4077-BC39-CBD6EA4132BE}" destId="{A5B8D06B-C5BA-414D-990D-89722ED69F83}" srcOrd="0" destOrd="0" presId="urn:microsoft.com/office/officeart/2005/8/layout/architecture"/>
    <dgm:cxn modelId="{9C3B737A-03F6-431B-B23F-D57EC0ABFD34}" srcId="{60D47129-3915-4DE4-9F9A-55AA3A514738}" destId="{DA400B75-6DB1-48EB-9B40-3BCA09772E59}" srcOrd="2" destOrd="0" parTransId="{83A9DCFB-2CCA-4D63-9F49-4460227E1648}" sibTransId="{9FBBEAE4-6FB5-4DB8-B44B-AD698D744D60}"/>
    <dgm:cxn modelId="{B4BC3C82-870F-40C8-BD35-A5828997A2DB}" srcId="{60D47129-3915-4DE4-9F9A-55AA3A514738}" destId="{0FBB72A0-E3D0-46C9-B7F4-256E93517197}" srcOrd="0" destOrd="0" parTransId="{81339021-347F-4A44-9DE2-DC16DB4AECBA}" sibTransId="{016799FA-1CEC-4728-8441-20ABF407AE27}"/>
    <dgm:cxn modelId="{7E4DDC87-4E4D-465F-AE4D-7805B34CECA7}" type="presOf" srcId="{A94DA42A-7E71-452B-82CC-3ACD69F5EF9B}" destId="{8EAB00A8-CEC1-4EE3-A1C3-4E2A15C021BF}" srcOrd="0" destOrd="0" presId="urn:microsoft.com/office/officeart/2005/8/layout/architecture"/>
    <dgm:cxn modelId="{5923A58F-8C29-45E7-BA5E-5C6E4CDA0EC2}" srcId="{0FBB72A0-E3D0-46C9-B7F4-256E93517197}" destId="{C77BE987-7ACE-44DA-A371-8460B9AEFB80}" srcOrd="3" destOrd="0" parTransId="{E31BD6E4-7D2F-4043-8D55-11F67ED43837}" sibTransId="{DC49CC10-B9B4-4840-8D06-BD7DA00AE498}"/>
    <dgm:cxn modelId="{573954A9-6293-4909-A007-9BDAA83095C6}" srcId="{0FBB72A0-E3D0-46C9-B7F4-256E93517197}" destId="{4492686E-60DE-4E8F-ACCD-33FC6BDD873A}" srcOrd="1" destOrd="0" parTransId="{2D6F0A90-02E4-45DD-A041-FC00BAAFEA0C}" sibTransId="{099488FB-FAD9-4A93-AE7A-345AA8D5832C}"/>
    <dgm:cxn modelId="{ACB390DE-4847-453B-8B7C-51EEE9C7F8B1}" type="presOf" srcId="{DA400B75-6DB1-48EB-9B40-3BCA09772E59}" destId="{629BBBE9-B88D-4397-8B15-1F9C411E28A0}" srcOrd="0" destOrd="0" presId="urn:microsoft.com/office/officeart/2005/8/layout/architecture"/>
    <dgm:cxn modelId="{F840D9DF-8355-4444-8F71-66FA78589076}" type="presOf" srcId="{BFA008BA-B84D-4EED-A594-D1D7163EBDA1}" destId="{A6986AF3-A6DE-48FB-A6C7-70FF7CB1F84D}" srcOrd="0" destOrd="0" presId="urn:microsoft.com/office/officeart/2005/8/layout/architecture"/>
    <dgm:cxn modelId="{A87726F8-48FC-4390-B0FC-9723F025C86D}" type="presOf" srcId="{4492686E-60DE-4E8F-ACCD-33FC6BDD873A}" destId="{95D471CF-C845-4A15-9E39-D4E7203F057F}" srcOrd="0" destOrd="0" presId="urn:microsoft.com/office/officeart/2005/8/layout/architecture"/>
    <dgm:cxn modelId="{07004DED-4B64-4A6B-8D82-F3250DA41BAB}" type="presParOf" srcId="{5932925A-B293-4E35-BCE6-7803D71A73FB}" destId="{D8C8C4F8-0A00-477C-8BB5-BD3CB5F4F11A}" srcOrd="0" destOrd="0" presId="urn:microsoft.com/office/officeart/2005/8/layout/architecture"/>
    <dgm:cxn modelId="{556D9575-E160-4EC5-995B-B9A93F0E45E3}" type="presParOf" srcId="{D8C8C4F8-0A00-477C-8BB5-BD3CB5F4F11A}" destId="{D6B611F3-F744-47E6-8C53-3235FF6AD37D}" srcOrd="0" destOrd="0" presId="urn:microsoft.com/office/officeart/2005/8/layout/architecture"/>
    <dgm:cxn modelId="{5CA39273-C16F-4599-BB71-688BCB9E5650}" type="presParOf" srcId="{D8C8C4F8-0A00-477C-8BB5-BD3CB5F4F11A}" destId="{8FE22A73-CB49-42FC-BE3A-D0725FA07D27}" srcOrd="1" destOrd="0" presId="urn:microsoft.com/office/officeart/2005/8/layout/architecture"/>
    <dgm:cxn modelId="{B981FABF-3570-474A-9FBF-105FEC907320}" type="presParOf" srcId="{D8C8C4F8-0A00-477C-8BB5-BD3CB5F4F11A}" destId="{23553E09-3E3A-4157-8713-EF99D8CE9037}" srcOrd="2" destOrd="0" presId="urn:microsoft.com/office/officeart/2005/8/layout/architecture"/>
    <dgm:cxn modelId="{3FC5DAC6-74DD-4623-B493-0F7859C22B27}" type="presParOf" srcId="{23553E09-3E3A-4157-8713-EF99D8CE9037}" destId="{50CB8F9B-CD1B-4F53-BB4C-A6A02B26CCEB}" srcOrd="0" destOrd="0" presId="urn:microsoft.com/office/officeart/2005/8/layout/architecture"/>
    <dgm:cxn modelId="{FC963B06-1D35-410D-B011-D706695AFFA8}" type="presParOf" srcId="{50CB8F9B-CD1B-4F53-BB4C-A6A02B26CCEB}" destId="{A6986AF3-A6DE-48FB-A6C7-70FF7CB1F84D}" srcOrd="0" destOrd="0" presId="urn:microsoft.com/office/officeart/2005/8/layout/architecture"/>
    <dgm:cxn modelId="{07D95F47-2F23-4893-81D1-310D03FCE8C1}" type="presParOf" srcId="{50CB8F9B-CD1B-4F53-BB4C-A6A02B26CCEB}" destId="{433AAB4C-9D61-4AC3-9484-4A10D1376052}" srcOrd="1" destOrd="0" presId="urn:microsoft.com/office/officeart/2005/8/layout/architecture"/>
    <dgm:cxn modelId="{99C2C90F-C13B-43BF-B43C-C7C0AE24A16D}" type="presParOf" srcId="{23553E09-3E3A-4157-8713-EF99D8CE9037}" destId="{7A132F54-0F64-436B-A325-CD746F95C0C2}" srcOrd="1" destOrd="0" presId="urn:microsoft.com/office/officeart/2005/8/layout/architecture"/>
    <dgm:cxn modelId="{2C80BDFA-60C2-4328-8019-E93A64124892}" type="presParOf" srcId="{23553E09-3E3A-4157-8713-EF99D8CE9037}" destId="{C456520A-0613-4716-9AFA-99A5CFB1FF6A}" srcOrd="2" destOrd="0" presId="urn:microsoft.com/office/officeart/2005/8/layout/architecture"/>
    <dgm:cxn modelId="{208CA1E8-8D65-4759-BF05-69BE7A65DC93}" type="presParOf" srcId="{C456520A-0613-4716-9AFA-99A5CFB1FF6A}" destId="{95D471CF-C845-4A15-9E39-D4E7203F057F}" srcOrd="0" destOrd="0" presId="urn:microsoft.com/office/officeart/2005/8/layout/architecture"/>
    <dgm:cxn modelId="{053C8550-BF59-4C5B-AD12-0C7F7B7FC1EE}" type="presParOf" srcId="{C456520A-0613-4716-9AFA-99A5CFB1FF6A}" destId="{40A16B7D-7D69-4AF6-9631-00F81BEE6563}" srcOrd="1" destOrd="0" presId="urn:microsoft.com/office/officeart/2005/8/layout/architecture"/>
    <dgm:cxn modelId="{F20E983D-681E-45EC-8710-4E9663CEF716}" type="presParOf" srcId="{23553E09-3E3A-4157-8713-EF99D8CE9037}" destId="{A2205FD5-FF62-4881-9DE5-6438060040EA}" srcOrd="3" destOrd="0" presId="urn:microsoft.com/office/officeart/2005/8/layout/architecture"/>
    <dgm:cxn modelId="{DA1DD9D5-5365-49F5-8B5A-FC5A2DBCF698}" type="presParOf" srcId="{23553E09-3E3A-4157-8713-EF99D8CE9037}" destId="{EE121D1A-2657-4CB7-8ED9-716EA3908267}" srcOrd="4" destOrd="0" presId="urn:microsoft.com/office/officeart/2005/8/layout/architecture"/>
    <dgm:cxn modelId="{7E9D58E2-FD0D-4DF2-A629-DBD6949453B0}" type="presParOf" srcId="{EE121D1A-2657-4CB7-8ED9-716EA3908267}" destId="{A5B8D06B-C5BA-414D-990D-89722ED69F83}" srcOrd="0" destOrd="0" presId="urn:microsoft.com/office/officeart/2005/8/layout/architecture"/>
    <dgm:cxn modelId="{B2BB4651-96AC-43F3-B15E-8101CE146CFF}" type="presParOf" srcId="{EE121D1A-2657-4CB7-8ED9-716EA3908267}" destId="{A05FD963-7777-4795-B057-7D0ABD1ACF78}" srcOrd="1" destOrd="0" presId="urn:microsoft.com/office/officeart/2005/8/layout/architecture"/>
    <dgm:cxn modelId="{D6443290-639F-4034-8FC4-ACB697188815}" type="presParOf" srcId="{23553E09-3E3A-4157-8713-EF99D8CE9037}" destId="{AB608616-B1A3-400B-AA46-33A8A2433F43}" srcOrd="5" destOrd="0" presId="urn:microsoft.com/office/officeart/2005/8/layout/architecture"/>
    <dgm:cxn modelId="{3B0B050E-DA4F-4796-B0D1-F4034C38CBF3}" type="presParOf" srcId="{23553E09-3E3A-4157-8713-EF99D8CE9037}" destId="{3049CA84-2339-4906-A2AC-009BF886F0CE}" srcOrd="6" destOrd="0" presId="urn:microsoft.com/office/officeart/2005/8/layout/architecture"/>
    <dgm:cxn modelId="{7EC45138-CC9B-4C1E-AE4E-15269DA008ED}" type="presParOf" srcId="{3049CA84-2339-4906-A2AC-009BF886F0CE}" destId="{048FF0AD-AC85-4B38-B18C-D0D0E95BA0FC}" srcOrd="0" destOrd="0" presId="urn:microsoft.com/office/officeart/2005/8/layout/architecture"/>
    <dgm:cxn modelId="{EF873D47-9B92-4CDA-9034-AD494B3EF92E}" type="presParOf" srcId="{3049CA84-2339-4906-A2AC-009BF886F0CE}" destId="{71505483-DAA7-42BA-BB0F-67892E51DEA9}" srcOrd="1" destOrd="0" presId="urn:microsoft.com/office/officeart/2005/8/layout/architecture"/>
    <dgm:cxn modelId="{564194D3-8488-475F-82D5-FF938EFAD856}" type="presParOf" srcId="{5932925A-B293-4E35-BCE6-7803D71A73FB}" destId="{DA4001E4-8BC9-4D9C-8D68-D46C45E4CF15}" srcOrd="1" destOrd="0" presId="urn:microsoft.com/office/officeart/2005/8/layout/architecture"/>
    <dgm:cxn modelId="{D31C3D5C-9B24-4AF9-B471-8A5C603FEC89}" type="presParOf" srcId="{5932925A-B293-4E35-BCE6-7803D71A73FB}" destId="{44E65E4D-111A-4E94-BD39-E86C10D8D427}" srcOrd="2" destOrd="0" presId="urn:microsoft.com/office/officeart/2005/8/layout/architecture"/>
    <dgm:cxn modelId="{995C9222-25B1-4D53-8EF4-FF93018AF958}" type="presParOf" srcId="{44E65E4D-111A-4E94-BD39-E86C10D8D427}" destId="{8EAB00A8-CEC1-4EE3-A1C3-4E2A15C021BF}" srcOrd="0" destOrd="0" presId="urn:microsoft.com/office/officeart/2005/8/layout/architecture"/>
    <dgm:cxn modelId="{8003A833-C45F-4235-A773-5435110F6D03}" type="presParOf" srcId="{44E65E4D-111A-4E94-BD39-E86C10D8D427}" destId="{DC657C2D-9BD0-491E-BBFE-8D7A47101F1E}" srcOrd="1" destOrd="0" presId="urn:microsoft.com/office/officeart/2005/8/layout/architecture"/>
    <dgm:cxn modelId="{6F0CB4C8-2AD8-4B26-A75C-3A34EDA1477A}" type="presParOf" srcId="{5932925A-B293-4E35-BCE6-7803D71A73FB}" destId="{4E28A0CB-587B-4DA2-B27C-DE30CCF5EAE0}" srcOrd="3" destOrd="0" presId="urn:microsoft.com/office/officeart/2005/8/layout/architecture"/>
    <dgm:cxn modelId="{8898DA2F-62D8-408E-951D-82CF56ADE4D7}" type="presParOf" srcId="{5932925A-B293-4E35-BCE6-7803D71A73FB}" destId="{4E78CC6A-4441-4CD4-9881-B62C49C16A9A}" srcOrd="4" destOrd="0" presId="urn:microsoft.com/office/officeart/2005/8/layout/architecture"/>
    <dgm:cxn modelId="{9FC789C9-A535-40F3-9EE9-BE936BE13186}" type="presParOf" srcId="{4E78CC6A-4441-4CD4-9881-B62C49C16A9A}" destId="{629BBBE9-B88D-4397-8B15-1F9C411E28A0}" srcOrd="0" destOrd="0" presId="urn:microsoft.com/office/officeart/2005/8/layout/architecture"/>
    <dgm:cxn modelId="{3453EF34-A3BC-48AA-951F-CA012ECFE424}" type="presParOf" srcId="{4E78CC6A-4441-4CD4-9881-B62C49C16A9A}" destId="{9C34776B-035B-4B72-9888-29E31534AC2D}"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B6018D1-47F6-45EF-958E-2A2314A0B759}" type="doc">
      <dgm:prSet loTypeId="urn:microsoft.com/office/officeart/2011/layout/HexagonRadial" loCatId="officeonline" qsTypeId="urn:microsoft.com/office/officeart/2005/8/quickstyle/simple5" qsCatId="simple" csTypeId="urn:microsoft.com/office/officeart/2005/8/colors/colorful5" csCatId="colorful" phldr="1"/>
      <dgm:spPr/>
      <dgm:t>
        <a:bodyPr/>
        <a:lstStyle/>
        <a:p>
          <a:endParaRPr lang="de-DE"/>
        </a:p>
      </dgm:t>
    </dgm:pt>
    <dgm:pt modelId="{0DDCE616-E913-4B09-B442-82069045E07C}">
      <dgm:prSet phldrT="[Text]"/>
      <dgm:spPr/>
      <dgm:t>
        <a:bodyPr/>
        <a:lstStyle/>
        <a:p>
          <a:r>
            <a:rPr lang="pl-PL" dirty="0"/>
            <a:t>Community cloud</a:t>
          </a:r>
          <a:endParaRPr lang="de-DE" dirty="0"/>
        </a:p>
      </dgm:t>
    </dgm:pt>
    <dgm:pt modelId="{CC0C54FF-F305-4595-9105-8CD25301E3A3}" type="parTrans" cxnId="{BEA631E4-CBA0-47C8-8EF8-52CD72A9760C}">
      <dgm:prSet/>
      <dgm:spPr/>
      <dgm:t>
        <a:bodyPr/>
        <a:lstStyle/>
        <a:p>
          <a:endParaRPr lang="de-DE"/>
        </a:p>
      </dgm:t>
    </dgm:pt>
    <dgm:pt modelId="{237CD2E5-1C53-4D6D-ADA6-54D8B365F566}" type="sibTrans" cxnId="{BEA631E4-CBA0-47C8-8EF8-52CD72A9760C}">
      <dgm:prSet/>
      <dgm:spPr/>
      <dgm:t>
        <a:bodyPr/>
        <a:lstStyle/>
        <a:p>
          <a:endParaRPr lang="de-DE"/>
        </a:p>
      </dgm:t>
    </dgm:pt>
    <dgm:pt modelId="{D820409B-C489-4457-A2D0-17D34430F8AB}">
      <dgm:prSet phldrT="[Text]"/>
      <dgm:spPr/>
      <dgm:t>
        <a:bodyPr/>
        <a:lstStyle/>
        <a:p>
          <a:pPr>
            <a:buFont typeface="Arial" panose="020B0604020202020204" pitchFamily="34" charset="0"/>
            <a:buChar char="•"/>
          </a:pPr>
          <a:r>
            <a:rPr lang="pl-PL" dirty="0"/>
            <a:t>Pools computing resources to serve organizations with common needs</a:t>
          </a:r>
          <a:endParaRPr lang="de-DE" dirty="0"/>
        </a:p>
      </dgm:t>
    </dgm:pt>
    <dgm:pt modelId="{262E6152-B6A9-457C-8A0E-35E9EF5EC058}" type="parTrans" cxnId="{E4A11F5C-67FA-4048-BB3B-A0767BE4AB39}">
      <dgm:prSet/>
      <dgm:spPr/>
      <dgm:t>
        <a:bodyPr/>
        <a:lstStyle/>
        <a:p>
          <a:endParaRPr lang="de-DE"/>
        </a:p>
      </dgm:t>
    </dgm:pt>
    <dgm:pt modelId="{C0C2E117-720D-4062-B4F6-B7D5720F86F7}" type="sibTrans" cxnId="{E4A11F5C-67FA-4048-BB3B-A0767BE4AB39}">
      <dgm:prSet/>
      <dgm:spPr/>
      <dgm:t>
        <a:bodyPr/>
        <a:lstStyle/>
        <a:p>
          <a:endParaRPr lang="de-DE"/>
        </a:p>
      </dgm:t>
    </dgm:pt>
    <dgm:pt modelId="{D66E9D8C-AFAC-4DE6-AD33-7EF79C4BEE27}">
      <dgm:prSet/>
      <dgm:spPr/>
      <dgm:t>
        <a:bodyPr/>
        <a:lstStyle/>
        <a:p>
          <a:r>
            <a:rPr lang="pl-PL"/>
            <a:t>Regulatory comliance</a:t>
          </a:r>
          <a:endParaRPr lang="pl-PL" dirty="0"/>
        </a:p>
      </dgm:t>
    </dgm:pt>
    <dgm:pt modelId="{32361007-FCA8-40F6-947F-D1A275CC44FC}" type="parTrans" cxnId="{892725F6-B15D-43F1-8E0A-F45270DB34EE}">
      <dgm:prSet/>
      <dgm:spPr/>
      <dgm:t>
        <a:bodyPr/>
        <a:lstStyle/>
        <a:p>
          <a:endParaRPr lang="de-DE"/>
        </a:p>
      </dgm:t>
    </dgm:pt>
    <dgm:pt modelId="{4A2E4800-FF94-4815-A6BD-D3698A72E6F8}" type="sibTrans" cxnId="{892725F6-B15D-43F1-8E0A-F45270DB34EE}">
      <dgm:prSet/>
      <dgm:spPr/>
      <dgm:t>
        <a:bodyPr/>
        <a:lstStyle/>
        <a:p>
          <a:endParaRPr lang="de-DE"/>
        </a:p>
      </dgm:t>
    </dgm:pt>
    <dgm:pt modelId="{C78829F5-3AEF-462D-946D-21D073402B73}">
      <dgm:prSet/>
      <dgm:spPr/>
      <dgm:t>
        <a:bodyPr/>
        <a:lstStyle/>
        <a:p>
          <a:r>
            <a:rPr lang="pl-PL"/>
            <a:t>Fast access to an application/data</a:t>
          </a:r>
          <a:endParaRPr lang="pl-PL" dirty="0"/>
        </a:p>
      </dgm:t>
    </dgm:pt>
    <dgm:pt modelId="{E4FC611C-CC6D-44B5-8BBC-D628069A7C9A}" type="parTrans" cxnId="{C07A1966-2E87-4716-9447-CE4B97979FEF}">
      <dgm:prSet/>
      <dgm:spPr/>
      <dgm:t>
        <a:bodyPr/>
        <a:lstStyle/>
        <a:p>
          <a:endParaRPr lang="de-DE"/>
        </a:p>
      </dgm:t>
    </dgm:pt>
    <dgm:pt modelId="{A195B866-FC5E-4A0C-A5C0-F389D9F64976}" type="sibTrans" cxnId="{C07A1966-2E87-4716-9447-CE4B97979FEF}">
      <dgm:prSet/>
      <dgm:spPr/>
      <dgm:t>
        <a:bodyPr/>
        <a:lstStyle/>
        <a:p>
          <a:endParaRPr lang="de-DE"/>
        </a:p>
      </dgm:t>
    </dgm:pt>
    <dgm:pt modelId="{C42A2DB7-583A-4C66-9180-DEB44FE6040C}">
      <dgm:prSet/>
      <dgm:spPr/>
      <dgm:t>
        <a:bodyPr/>
        <a:lstStyle/>
        <a:p>
          <a:r>
            <a:rPr lang="pl-PL"/>
            <a:t>Similar security requirements</a:t>
          </a:r>
          <a:endParaRPr lang="pl-PL" dirty="0"/>
        </a:p>
      </dgm:t>
    </dgm:pt>
    <dgm:pt modelId="{9FBD1AFF-0A35-4217-9D4F-94C23032020D}" type="parTrans" cxnId="{DFEDE5F5-4D60-4621-ABFF-8BF0154175B2}">
      <dgm:prSet/>
      <dgm:spPr/>
      <dgm:t>
        <a:bodyPr/>
        <a:lstStyle/>
        <a:p>
          <a:endParaRPr lang="de-DE"/>
        </a:p>
      </dgm:t>
    </dgm:pt>
    <dgm:pt modelId="{E8FD33E0-22B5-4F7A-AAF5-948F73F00126}" type="sibTrans" cxnId="{DFEDE5F5-4D60-4621-ABFF-8BF0154175B2}">
      <dgm:prSet/>
      <dgm:spPr/>
      <dgm:t>
        <a:bodyPr/>
        <a:lstStyle/>
        <a:p>
          <a:endParaRPr lang="de-DE"/>
        </a:p>
      </dgm:t>
    </dgm:pt>
    <dgm:pt modelId="{9B2BB040-F900-4A60-B7A9-E25B1904B8F4}">
      <dgm:prSet/>
      <dgm:spPr/>
      <dgm:t>
        <a:bodyPr/>
        <a:lstStyle/>
        <a:p>
          <a:r>
            <a:rPr lang="pl-PL" dirty="0"/>
            <a:t>The examples of community cloud deployments are: Healthcare or financial services that require special regulation</a:t>
          </a:r>
          <a:endParaRPr lang="de-DE" dirty="0"/>
        </a:p>
      </dgm:t>
    </dgm:pt>
    <dgm:pt modelId="{D650640F-B9A1-4BF3-B4CA-32EB9C3054D1}" type="parTrans" cxnId="{9CC2BC40-E1B9-436F-ADC2-5F7EA4BEEAED}">
      <dgm:prSet/>
      <dgm:spPr/>
      <dgm:t>
        <a:bodyPr/>
        <a:lstStyle/>
        <a:p>
          <a:endParaRPr lang="de-DE"/>
        </a:p>
      </dgm:t>
    </dgm:pt>
    <dgm:pt modelId="{8A155ED9-D0E1-4608-80FB-B879CA172FE2}" type="sibTrans" cxnId="{9CC2BC40-E1B9-436F-ADC2-5F7EA4BEEAED}">
      <dgm:prSet/>
      <dgm:spPr/>
      <dgm:t>
        <a:bodyPr/>
        <a:lstStyle/>
        <a:p>
          <a:endParaRPr lang="de-DE"/>
        </a:p>
      </dgm:t>
    </dgm:pt>
    <dgm:pt modelId="{1C78D033-4882-46E6-9BD2-B3CB4ABCCD68}" type="pres">
      <dgm:prSet presAssocID="{EB6018D1-47F6-45EF-958E-2A2314A0B759}" presName="Name0" presStyleCnt="0">
        <dgm:presLayoutVars>
          <dgm:chMax val="1"/>
          <dgm:chPref val="1"/>
          <dgm:dir/>
          <dgm:animOne val="branch"/>
          <dgm:animLvl val="lvl"/>
        </dgm:presLayoutVars>
      </dgm:prSet>
      <dgm:spPr/>
    </dgm:pt>
    <dgm:pt modelId="{D96B0E73-ED78-46E7-BCCE-77EE6334951F}" type="pres">
      <dgm:prSet presAssocID="{0DDCE616-E913-4B09-B442-82069045E07C}" presName="Parent" presStyleLbl="node0" presStyleIdx="0" presStyleCnt="1">
        <dgm:presLayoutVars>
          <dgm:chMax val="6"/>
          <dgm:chPref val="6"/>
        </dgm:presLayoutVars>
      </dgm:prSet>
      <dgm:spPr/>
    </dgm:pt>
    <dgm:pt modelId="{D0B9759F-235E-4892-8B94-E3FD03FDF83A}" type="pres">
      <dgm:prSet presAssocID="{D820409B-C489-4457-A2D0-17D34430F8AB}" presName="Accent1" presStyleCnt="0"/>
      <dgm:spPr/>
    </dgm:pt>
    <dgm:pt modelId="{E310B347-8AE8-40C8-A7D5-3C884715306B}" type="pres">
      <dgm:prSet presAssocID="{D820409B-C489-4457-A2D0-17D34430F8AB}" presName="Accent" presStyleLbl="bgShp" presStyleIdx="0" presStyleCnt="5"/>
      <dgm:spPr/>
    </dgm:pt>
    <dgm:pt modelId="{4512E9C3-0B6B-4353-845F-DBDA4FF1C6AA}" type="pres">
      <dgm:prSet presAssocID="{D820409B-C489-4457-A2D0-17D34430F8AB}" presName="Child1" presStyleLbl="node1" presStyleIdx="0" presStyleCnt="5">
        <dgm:presLayoutVars>
          <dgm:chMax val="0"/>
          <dgm:chPref val="0"/>
          <dgm:bulletEnabled val="1"/>
        </dgm:presLayoutVars>
      </dgm:prSet>
      <dgm:spPr/>
    </dgm:pt>
    <dgm:pt modelId="{B77785F8-4512-41F4-A010-F2630071EBA5}" type="pres">
      <dgm:prSet presAssocID="{D66E9D8C-AFAC-4DE6-AD33-7EF79C4BEE27}" presName="Accent2" presStyleCnt="0"/>
      <dgm:spPr/>
    </dgm:pt>
    <dgm:pt modelId="{56C90C39-9419-49AF-9116-C9CDE81639DE}" type="pres">
      <dgm:prSet presAssocID="{D66E9D8C-AFAC-4DE6-AD33-7EF79C4BEE27}" presName="Accent" presStyleLbl="bgShp" presStyleIdx="1" presStyleCnt="5"/>
      <dgm:spPr/>
    </dgm:pt>
    <dgm:pt modelId="{C51A215C-513E-46E9-B46C-E7C6ED706E1E}" type="pres">
      <dgm:prSet presAssocID="{D66E9D8C-AFAC-4DE6-AD33-7EF79C4BEE27}" presName="Child2" presStyleLbl="node1" presStyleIdx="1" presStyleCnt="5">
        <dgm:presLayoutVars>
          <dgm:chMax val="0"/>
          <dgm:chPref val="0"/>
          <dgm:bulletEnabled val="1"/>
        </dgm:presLayoutVars>
      </dgm:prSet>
      <dgm:spPr/>
    </dgm:pt>
    <dgm:pt modelId="{D27E9728-4BCE-4B27-AE89-6014168BDBF9}" type="pres">
      <dgm:prSet presAssocID="{C78829F5-3AEF-462D-946D-21D073402B73}" presName="Accent3" presStyleCnt="0"/>
      <dgm:spPr/>
    </dgm:pt>
    <dgm:pt modelId="{B315D702-4BE6-4DF2-BEE3-D2798E72A296}" type="pres">
      <dgm:prSet presAssocID="{C78829F5-3AEF-462D-946D-21D073402B73}" presName="Accent" presStyleLbl="bgShp" presStyleIdx="2" presStyleCnt="5"/>
      <dgm:spPr/>
    </dgm:pt>
    <dgm:pt modelId="{E0E09384-577C-4DA9-AF73-E7E2D911AB41}" type="pres">
      <dgm:prSet presAssocID="{C78829F5-3AEF-462D-946D-21D073402B73}" presName="Child3" presStyleLbl="node1" presStyleIdx="2" presStyleCnt="5">
        <dgm:presLayoutVars>
          <dgm:chMax val="0"/>
          <dgm:chPref val="0"/>
          <dgm:bulletEnabled val="1"/>
        </dgm:presLayoutVars>
      </dgm:prSet>
      <dgm:spPr/>
    </dgm:pt>
    <dgm:pt modelId="{AD300143-E345-414B-B4DD-BDD70D568B11}" type="pres">
      <dgm:prSet presAssocID="{C42A2DB7-583A-4C66-9180-DEB44FE6040C}" presName="Accent4" presStyleCnt="0"/>
      <dgm:spPr/>
    </dgm:pt>
    <dgm:pt modelId="{D839BC50-475C-4C29-96A1-7B4CDDFD79DA}" type="pres">
      <dgm:prSet presAssocID="{C42A2DB7-583A-4C66-9180-DEB44FE6040C}" presName="Accent" presStyleLbl="bgShp" presStyleIdx="3" presStyleCnt="5"/>
      <dgm:spPr/>
    </dgm:pt>
    <dgm:pt modelId="{29AC5728-85B9-493D-BEA0-C123A14CABFD}" type="pres">
      <dgm:prSet presAssocID="{C42A2DB7-583A-4C66-9180-DEB44FE6040C}" presName="Child4" presStyleLbl="node1" presStyleIdx="3" presStyleCnt="5">
        <dgm:presLayoutVars>
          <dgm:chMax val="0"/>
          <dgm:chPref val="0"/>
          <dgm:bulletEnabled val="1"/>
        </dgm:presLayoutVars>
      </dgm:prSet>
      <dgm:spPr/>
    </dgm:pt>
    <dgm:pt modelId="{CE5F142A-95F9-492C-BED8-FA6F705539F5}" type="pres">
      <dgm:prSet presAssocID="{9B2BB040-F900-4A60-B7A9-E25B1904B8F4}" presName="Accent5" presStyleCnt="0"/>
      <dgm:spPr/>
    </dgm:pt>
    <dgm:pt modelId="{26999590-9352-43A8-BB63-376CE48F5048}" type="pres">
      <dgm:prSet presAssocID="{9B2BB040-F900-4A60-B7A9-E25B1904B8F4}" presName="Accent" presStyleLbl="bgShp" presStyleIdx="4" presStyleCnt="5"/>
      <dgm:spPr/>
    </dgm:pt>
    <dgm:pt modelId="{7532DACC-901C-4856-A2DB-ACECFE2BF22E}" type="pres">
      <dgm:prSet presAssocID="{9B2BB040-F900-4A60-B7A9-E25B1904B8F4}" presName="Child5" presStyleLbl="node1" presStyleIdx="4" presStyleCnt="5">
        <dgm:presLayoutVars>
          <dgm:chMax val="0"/>
          <dgm:chPref val="0"/>
          <dgm:bulletEnabled val="1"/>
        </dgm:presLayoutVars>
      </dgm:prSet>
      <dgm:spPr/>
    </dgm:pt>
  </dgm:ptLst>
  <dgm:cxnLst>
    <dgm:cxn modelId="{0627A005-F0C7-444A-94BC-6E44683D4126}" type="presOf" srcId="{EB6018D1-47F6-45EF-958E-2A2314A0B759}" destId="{1C78D033-4882-46E6-9BD2-B3CB4ABCCD68}" srcOrd="0" destOrd="0" presId="urn:microsoft.com/office/officeart/2011/layout/HexagonRadial"/>
    <dgm:cxn modelId="{D199FB07-38BF-4839-BC62-725AE861BBCF}" type="presOf" srcId="{D66E9D8C-AFAC-4DE6-AD33-7EF79C4BEE27}" destId="{C51A215C-513E-46E9-B46C-E7C6ED706E1E}" srcOrd="0" destOrd="0" presId="urn:microsoft.com/office/officeart/2011/layout/HexagonRadial"/>
    <dgm:cxn modelId="{675C4311-9C98-4DFB-A9A3-92400D17B98C}" type="presOf" srcId="{9B2BB040-F900-4A60-B7A9-E25B1904B8F4}" destId="{7532DACC-901C-4856-A2DB-ACECFE2BF22E}" srcOrd="0" destOrd="0" presId="urn:microsoft.com/office/officeart/2011/layout/HexagonRadial"/>
    <dgm:cxn modelId="{57648A28-2D3D-4172-A4F3-C89725BBFA0F}" type="presOf" srcId="{D820409B-C489-4457-A2D0-17D34430F8AB}" destId="{4512E9C3-0B6B-4353-845F-DBDA4FF1C6AA}" srcOrd="0" destOrd="0" presId="urn:microsoft.com/office/officeart/2011/layout/HexagonRadial"/>
    <dgm:cxn modelId="{9CC2BC40-E1B9-436F-ADC2-5F7EA4BEEAED}" srcId="{0DDCE616-E913-4B09-B442-82069045E07C}" destId="{9B2BB040-F900-4A60-B7A9-E25B1904B8F4}" srcOrd="4" destOrd="0" parTransId="{D650640F-B9A1-4BF3-B4CA-32EB9C3054D1}" sibTransId="{8A155ED9-D0E1-4608-80FB-B879CA172FE2}"/>
    <dgm:cxn modelId="{E4A11F5C-67FA-4048-BB3B-A0767BE4AB39}" srcId="{0DDCE616-E913-4B09-B442-82069045E07C}" destId="{D820409B-C489-4457-A2D0-17D34430F8AB}" srcOrd="0" destOrd="0" parTransId="{262E6152-B6A9-457C-8A0E-35E9EF5EC058}" sibTransId="{C0C2E117-720D-4062-B4F6-B7D5720F86F7}"/>
    <dgm:cxn modelId="{C07A1966-2E87-4716-9447-CE4B97979FEF}" srcId="{0DDCE616-E913-4B09-B442-82069045E07C}" destId="{C78829F5-3AEF-462D-946D-21D073402B73}" srcOrd="2" destOrd="0" parTransId="{E4FC611C-CC6D-44B5-8BBC-D628069A7C9A}" sibTransId="{A195B866-FC5E-4A0C-A5C0-F389D9F64976}"/>
    <dgm:cxn modelId="{6581FD4D-5146-4AA6-86FF-57A0904A46C0}" type="presOf" srcId="{0DDCE616-E913-4B09-B442-82069045E07C}" destId="{D96B0E73-ED78-46E7-BCCE-77EE6334951F}" srcOrd="0" destOrd="0" presId="urn:microsoft.com/office/officeart/2011/layout/HexagonRadial"/>
    <dgm:cxn modelId="{754741A3-283B-42D9-8E03-3F02A3036B52}" type="presOf" srcId="{C78829F5-3AEF-462D-946D-21D073402B73}" destId="{E0E09384-577C-4DA9-AF73-E7E2D911AB41}" srcOrd="0" destOrd="0" presId="urn:microsoft.com/office/officeart/2011/layout/HexagonRadial"/>
    <dgm:cxn modelId="{BEA631E4-CBA0-47C8-8EF8-52CD72A9760C}" srcId="{EB6018D1-47F6-45EF-958E-2A2314A0B759}" destId="{0DDCE616-E913-4B09-B442-82069045E07C}" srcOrd="0" destOrd="0" parTransId="{CC0C54FF-F305-4595-9105-8CD25301E3A3}" sibTransId="{237CD2E5-1C53-4D6D-ADA6-54D8B365F566}"/>
    <dgm:cxn modelId="{0DEAA2EF-8E8E-45EC-B82B-31CE25C47182}" type="presOf" srcId="{C42A2DB7-583A-4C66-9180-DEB44FE6040C}" destId="{29AC5728-85B9-493D-BEA0-C123A14CABFD}" srcOrd="0" destOrd="0" presId="urn:microsoft.com/office/officeart/2011/layout/HexagonRadial"/>
    <dgm:cxn modelId="{DFEDE5F5-4D60-4621-ABFF-8BF0154175B2}" srcId="{0DDCE616-E913-4B09-B442-82069045E07C}" destId="{C42A2DB7-583A-4C66-9180-DEB44FE6040C}" srcOrd="3" destOrd="0" parTransId="{9FBD1AFF-0A35-4217-9D4F-94C23032020D}" sibTransId="{E8FD33E0-22B5-4F7A-AAF5-948F73F00126}"/>
    <dgm:cxn modelId="{892725F6-B15D-43F1-8E0A-F45270DB34EE}" srcId="{0DDCE616-E913-4B09-B442-82069045E07C}" destId="{D66E9D8C-AFAC-4DE6-AD33-7EF79C4BEE27}" srcOrd="1" destOrd="0" parTransId="{32361007-FCA8-40F6-947F-D1A275CC44FC}" sibTransId="{4A2E4800-FF94-4815-A6BD-D3698A72E6F8}"/>
    <dgm:cxn modelId="{762E9622-0FF0-4869-B883-85FA72993F4F}" type="presParOf" srcId="{1C78D033-4882-46E6-9BD2-B3CB4ABCCD68}" destId="{D96B0E73-ED78-46E7-BCCE-77EE6334951F}" srcOrd="0" destOrd="0" presId="urn:microsoft.com/office/officeart/2011/layout/HexagonRadial"/>
    <dgm:cxn modelId="{6DE0A425-DC3C-4D9D-925F-ABBFD8424775}" type="presParOf" srcId="{1C78D033-4882-46E6-9BD2-B3CB4ABCCD68}" destId="{D0B9759F-235E-4892-8B94-E3FD03FDF83A}" srcOrd="1" destOrd="0" presId="urn:microsoft.com/office/officeart/2011/layout/HexagonRadial"/>
    <dgm:cxn modelId="{5BD0680D-09F9-4942-B530-7443741E0502}" type="presParOf" srcId="{D0B9759F-235E-4892-8B94-E3FD03FDF83A}" destId="{E310B347-8AE8-40C8-A7D5-3C884715306B}" srcOrd="0" destOrd="0" presId="urn:microsoft.com/office/officeart/2011/layout/HexagonRadial"/>
    <dgm:cxn modelId="{6A99AA4A-8098-47FD-B1E4-6C84E63DCB5A}" type="presParOf" srcId="{1C78D033-4882-46E6-9BD2-B3CB4ABCCD68}" destId="{4512E9C3-0B6B-4353-845F-DBDA4FF1C6AA}" srcOrd="2" destOrd="0" presId="urn:microsoft.com/office/officeart/2011/layout/HexagonRadial"/>
    <dgm:cxn modelId="{C7BB7E32-AC02-4E43-8652-F2068B1AA353}" type="presParOf" srcId="{1C78D033-4882-46E6-9BD2-B3CB4ABCCD68}" destId="{B77785F8-4512-41F4-A010-F2630071EBA5}" srcOrd="3" destOrd="0" presId="urn:microsoft.com/office/officeart/2011/layout/HexagonRadial"/>
    <dgm:cxn modelId="{E4A9FA5F-821B-4D27-88D1-55C3A32BB1D9}" type="presParOf" srcId="{B77785F8-4512-41F4-A010-F2630071EBA5}" destId="{56C90C39-9419-49AF-9116-C9CDE81639DE}" srcOrd="0" destOrd="0" presId="urn:microsoft.com/office/officeart/2011/layout/HexagonRadial"/>
    <dgm:cxn modelId="{5C990D12-39BD-4AD8-8BE5-94171E88D273}" type="presParOf" srcId="{1C78D033-4882-46E6-9BD2-B3CB4ABCCD68}" destId="{C51A215C-513E-46E9-B46C-E7C6ED706E1E}" srcOrd="4" destOrd="0" presId="urn:microsoft.com/office/officeart/2011/layout/HexagonRadial"/>
    <dgm:cxn modelId="{CD9D8191-2AB8-483D-9F3C-84ABDA4A297E}" type="presParOf" srcId="{1C78D033-4882-46E6-9BD2-B3CB4ABCCD68}" destId="{D27E9728-4BCE-4B27-AE89-6014168BDBF9}" srcOrd="5" destOrd="0" presId="urn:microsoft.com/office/officeart/2011/layout/HexagonRadial"/>
    <dgm:cxn modelId="{F9AF66F3-6C7B-44EF-9808-7A535CECD006}" type="presParOf" srcId="{D27E9728-4BCE-4B27-AE89-6014168BDBF9}" destId="{B315D702-4BE6-4DF2-BEE3-D2798E72A296}" srcOrd="0" destOrd="0" presId="urn:microsoft.com/office/officeart/2011/layout/HexagonRadial"/>
    <dgm:cxn modelId="{72B98FDE-301F-41CB-9A72-17BC374949C4}" type="presParOf" srcId="{1C78D033-4882-46E6-9BD2-B3CB4ABCCD68}" destId="{E0E09384-577C-4DA9-AF73-E7E2D911AB41}" srcOrd="6" destOrd="0" presId="urn:microsoft.com/office/officeart/2011/layout/HexagonRadial"/>
    <dgm:cxn modelId="{795F0E0B-DC01-4FD9-AFF9-0767BA12095D}" type="presParOf" srcId="{1C78D033-4882-46E6-9BD2-B3CB4ABCCD68}" destId="{AD300143-E345-414B-B4DD-BDD70D568B11}" srcOrd="7" destOrd="0" presId="urn:microsoft.com/office/officeart/2011/layout/HexagonRadial"/>
    <dgm:cxn modelId="{7C04A0C1-2903-4C59-BCD1-8BD9FFFED15C}" type="presParOf" srcId="{AD300143-E345-414B-B4DD-BDD70D568B11}" destId="{D839BC50-475C-4C29-96A1-7B4CDDFD79DA}" srcOrd="0" destOrd="0" presId="urn:microsoft.com/office/officeart/2011/layout/HexagonRadial"/>
    <dgm:cxn modelId="{11760C92-299C-4BF2-904C-3E32A5C40F65}" type="presParOf" srcId="{1C78D033-4882-46E6-9BD2-B3CB4ABCCD68}" destId="{29AC5728-85B9-493D-BEA0-C123A14CABFD}" srcOrd="8" destOrd="0" presId="urn:microsoft.com/office/officeart/2011/layout/HexagonRadial"/>
    <dgm:cxn modelId="{14C28B36-045F-4942-88BC-16D3BDE50C0A}" type="presParOf" srcId="{1C78D033-4882-46E6-9BD2-B3CB4ABCCD68}" destId="{CE5F142A-95F9-492C-BED8-FA6F705539F5}" srcOrd="9" destOrd="0" presId="urn:microsoft.com/office/officeart/2011/layout/HexagonRadial"/>
    <dgm:cxn modelId="{17A9698A-BE45-425D-A689-DF9D1EB99482}" type="presParOf" srcId="{CE5F142A-95F9-492C-BED8-FA6F705539F5}" destId="{26999590-9352-43A8-BB63-376CE48F5048}" srcOrd="0" destOrd="0" presId="urn:microsoft.com/office/officeart/2011/layout/HexagonRadial"/>
    <dgm:cxn modelId="{A4F0FA01-9DB5-4A03-8B1C-943BA1BB1CAA}" type="presParOf" srcId="{1C78D033-4882-46E6-9BD2-B3CB4ABCCD68}" destId="{7532DACC-901C-4856-A2DB-ACECFE2BF22E}" srcOrd="10"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41C034-75EC-4C65-99A3-6F0ECCEECAD7}">
      <dsp:nvSpPr>
        <dsp:cNvPr id="0" name=""/>
        <dsp:cNvSpPr/>
      </dsp:nvSpPr>
      <dsp:spPr>
        <a:xfrm>
          <a:off x="3489142" y="1466957"/>
          <a:ext cx="1046155" cy="10461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pl-PL" sz="1900" kern="1200" dirty="0"/>
            <a:t>Cloud</a:t>
          </a:r>
          <a:endParaRPr lang="de-DE" sz="1900" kern="1200" dirty="0"/>
        </a:p>
      </dsp:txBody>
      <dsp:txXfrm>
        <a:off x="3642348" y="1620163"/>
        <a:ext cx="739743" cy="739743"/>
      </dsp:txXfrm>
    </dsp:sp>
    <dsp:sp modelId="{A4BB5BA5-8266-4C3A-A6B6-07B17227620D}">
      <dsp:nvSpPr>
        <dsp:cNvPr id="0" name=""/>
        <dsp:cNvSpPr/>
      </dsp:nvSpPr>
      <dsp:spPr>
        <a:xfrm rot="16200000">
          <a:off x="3901347" y="1086193"/>
          <a:ext cx="221745" cy="355692"/>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3934609" y="1190593"/>
        <a:ext cx="155222" cy="213416"/>
      </dsp:txXfrm>
    </dsp:sp>
    <dsp:sp modelId="{07098F9C-D486-4C14-A472-BA7ABA4B7D98}">
      <dsp:nvSpPr>
        <dsp:cNvPr id="0" name=""/>
        <dsp:cNvSpPr/>
      </dsp:nvSpPr>
      <dsp:spPr>
        <a:xfrm>
          <a:off x="3489142" y="2415"/>
          <a:ext cx="1046155" cy="1046155"/>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pl-PL" sz="1100" kern="1200" dirty="0"/>
            <a:t>Resource pooling</a:t>
          </a:r>
          <a:endParaRPr lang="de-DE" sz="1100" kern="1200" dirty="0"/>
        </a:p>
      </dsp:txBody>
      <dsp:txXfrm>
        <a:off x="3642348" y="155621"/>
        <a:ext cx="739743" cy="739743"/>
      </dsp:txXfrm>
    </dsp:sp>
    <dsp:sp modelId="{401E27E1-B7F4-4E7D-8BB4-258E69B658B6}">
      <dsp:nvSpPr>
        <dsp:cNvPr id="0" name=""/>
        <dsp:cNvSpPr/>
      </dsp:nvSpPr>
      <dsp:spPr>
        <a:xfrm rot="20520000">
          <a:off x="4591809" y="1587844"/>
          <a:ext cx="221745" cy="355692"/>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4593437" y="1669260"/>
        <a:ext cx="155222" cy="213416"/>
      </dsp:txXfrm>
    </dsp:sp>
    <dsp:sp modelId="{344242E5-6317-4606-8D57-B7C28BA7B4B3}">
      <dsp:nvSpPr>
        <dsp:cNvPr id="0" name=""/>
        <dsp:cNvSpPr/>
      </dsp:nvSpPr>
      <dsp:spPr>
        <a:xfrm>
          <a:off x="4882004" y="1014389"/>
          <a:ext cx="1046155" cy="1046155"/>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pl-PL" sz="1100" kern="1200" dirty="0"/>
            <a:t>Broad network access</a:t>
          </a:r>
          <a:endParaRPr lang="de-DE" sz="1100" kern="1200" dirty="0"/>
        </a:p>
      </dsp:txBody>
      <dsp:txXfrm>
        <a:off x="5035210" y="1167595"/>
        <a:ext cx="739743" cy="739743"/>
      </dsp:txXfrm>
    </dsp:sp>
    <dsp:sp modelId="{69A38ECB-FFCE-4DB2-BDC5-12473AFECB1D}">
      <dsp:nvSpPr>
        <dsp:cNvPr id="0" name=""/>
        <dsp:cNvSpPr/>
      </dsp:nvSpPr>
      <dsp:spPr>
        <a:xfrm rot="3240000">
          <a:off x="4328076" y="2399531"/>
          <a:ext cx="221745" cy="355692"/>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4341787" y="2443760"/>
        <a:ext cx="155222" cy="213416"/>
      </dsp:txXfrm>
    </dsp:sp>
    <dsp:sp modelId="{516FA01A-58CE-4A58-A4E0-6E28DEA342F3}">
      <dsp:nvSpPr>
        <dsp:cNvPr id="0" name=""/>
        <dsp:cNvSpPr/>
      </dsp:nvSpPr>
      <dsp:spPr>
        <a:xfrm>
          <a:off x="4349978" y="2651797"/>
          <a:ext cx="1046155" cy="1046155"/>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pl-PL" sz="1100" kern="1200" dirty="0"/>
            <a:t>Rapid elasticity</a:t>
          </a:r>
          <a:endParaRPr lang="de-DE" sz="1100" kern="1200" dirty="0"/>
        </a:p>
      </dsp:txBody>
      <dsp:txXfrm>
        <a:off x="4503184" y="2805003"/>
        <a:ext cx="739743" cy="739743"/>
      </dsp:txXfrm>
    </dsp:sp>
    <dsp:sp modelId="{5A3AD635-D106-4BD5-9857-823BEA08304F}">
      <dsp:nvSpPr>
        <dsp:cNvPr id="0" name=""/>
        <dsp:cNvSpPr/>
      </dsp:nvSpPr>
      <dsp:spPr>
        <a:xfrm rot="7560000">
          <a:off x="3474618" y="2399531"/>
          <a:ext cx="221745" cy="355692"/>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3527430" y="2443760"/>
        <a:ext cx="155222" cy="213416"/>
      </dsp:txXfrm>
    </dsp:sp>
    <dsp:sp modelId="{DA6A4E62-364E-494F-AE7B-A62897C14545}">
      <dsp:nvSpPr>
        <dsp:cNvPr id="0" name=""/>
        <dsp:cNvSpPr/>
      </dsp:nvSpPr>
      <dsp:spPr>
        <a:xfrm>
          <a:off x="2628306" y="2651797"/>
          <a:ext cx="1046155" cy="1046155"/>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pl-PL" sz="1100" kern="1200" dirty="0"/>
            <a:t>On-demand self service</a:t>
          </a:r>
          <a:endParaRPr lang="de-DE" sz="1100" kern="1200" dirty="0"/>
        </a:p>
      </dsp:txBody>
      <dsp:txXfrm>
        <a:off x="2781512" y="2805003"/>
        <a:ext cx="739743" cy="739743"/>
      </dsp:txXfrm>
    </dsp:sp>
    <dsp:sp modelId="{AB27B2DD-7EC2-48AD-B917-6DC48E6A024F}">
      <dsp:nvSpPr>
        <dsp:cNvPr id="0" name=""/>
        <dsp:cNvSpPr/>
      </dsp:nvSpPr>
      <dsp:spPr>
        <a:xfrm rot="11880000">
          <a:off x="3210884" y="1587844"/>
          <a:ext cx="221745" cy="355692"/>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3275779" y="1669260"/>
        <a:ext cx="155222" cy="213416"/>
      </dsp:txXfrm>
    </dsp:sp>
    <dsp:sp modelId="{A0B0B9B8-D772-4078-BB27-4F1B4A540D87}">
      <dsp:nvSpPr>
        <dsp:cNvPr id="0" name=""/>
        <dsp:cNvSpPr/>
      </dsp:nvSpPr>
      <dsp:spPr>
        <a:xfrm>
          <a:off x="2096280" y="1014389"/>
          <a:ext cx="1046155" cy="1046155"/>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pl-PL" sz="1100" kern="1200" dirty="0"/>
            <a:t>Measured service</a:t>
          </a:r>
          <a:endParaRPr lang="de-DE" sz="1100" kern="1200" dirty="0"/>
        </a:p>
      </dsp:txBody>
      <dsp:txXfrm>
        <a:off x="2249486" y="1167595"/>
        <a:ext cx="739743" cy="7397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B68B5-09E5-432A-B5B1-FAE316495A2A}">
      <dsp:nvSpPr>
        <dsp:cNvPr id="0" name=""/>
        <dsp:cNvSpPr/>
      </dsp:nvSpPr>
      <dsp:spPr>
        <a:xfrm>
          <a:off x="1342118" y="-46420"/>
          <a:ext cx="5443763" cy="5443763"/>
        </a:xfrm>
        <a:prstGeom prst="circularArrow">
          <a:avLst>
            <a:gd name="adj1" fmla="val 5544"/>
            <a:gd name="adj2" fmla="val 330680"/>
            <a:gd name="adj3" fmla="val 14640608"/>
            <a:gd name="adj4" fmla="val 16879136"/>
            <a:gd name="adj5" fmla="val 5757"/>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07ADEBC-66CE-4AF5-BB83-B4F2DF40B956}">
      <dsp:nvSpPr>
        <dsp:cNvPr id="0" name=""/>
        <dsp:cNvSpPr/>
      </dsp:nvSpPr>
      <dsp:spPr>
        <a:xfrm>
          <a:off x="3292078" y="1938"/>
          <a:ext cx="1543843" cy="7719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pl-PL" sz="1400" kern="1200" dirty="0"/>
            <a:t>24/7 Support</a:t>
          </a:r>
          <a:endParaRPr lang="de-DE" sz="1400" kern="1200" dirty="0"/>
        </a:p>
      </dsp:txBody>
      <dsp:txXfrm>
        <a:off x="3329760" y="39620"/>
        <a:ext cx="1468479" cy="696557"/>
      </dsp:txXfrm>
    </dsp:sp>
    <dsp:sp modelId="{6F317A85-D4EB-4EA4-856D-CA06DF9A7ED0}">
      <dsp:nvSpPr>
        <dsp:cNvPr id="0" name=""/>
        <dsp:cNvSpPr/>
      </dsp:nvSpPr>
      <dsp:spPr>
        <a:xfrm>
          <a:off x="4933579" y="681870"/>
          <a:ext cx="1543843" cy="77192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pl-PL" sz="1400" kern="1200" dirty="0"/>
            <a:t>Highly automated</a:t>
          </a:r>
          <a:endParaRPr lang="de-DE" sz="1400" kern="1200" dirty="0"/>
        </a:p>
      </dsp:txBody>
      <dsp:txXfrm>
        <a:off x="4971261" y="719552"/>
        <a:ext cx="1468479" cy="696557"/>
      </dsp:txXfrm>
    </dsp:sp>
    <dsp:sp modelId="{55F6AEBB-8A6C-4DB6-9F17-696A7F498905}">
      <dsp:nvSpPr>
        <dsp:cNvPr id="0" name=""/>
        <dsp:cNvSpPr/>
      </dsp:nvSpPr>
      <dsp:spPr>
        <a:xfrm>
          <a:off x="5613512" y="2323372"/>
          <a:ext cx="1543843" cy="77192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pl-PL" sz="1400" kern="1200" dirty="0"/>
            <a:t>Pay as you use</a:t>
          </a:r>
          <a:endParaRPr lang="de-DE" sz="1400" kern="1200" dirty="0"/>
        </a:p>
      </dsp:txBody>
      <dsp:txXfrm>
        <a:off x="5651194" y="2361054"/>
        <a:ext cx="1468479" cy="696557"/>
      </dsp:txXfrm>
    </dsp:sp>
    <dsp:sp modelId="{4E51F3BC-91FC-4473-9668-8AE37299CA48}">
      <dsp:nvSpPr>
        <dsp:cNvPr id="0" name=""/>
        <dsp:cNvSpPr/>
      </dsp:nvSpPr>
      <dsp:spPr>
        <a:xfrm>
          <a:off x="4933579" y="3964874"/>
          <a:ext cx="1543843" cy="77192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pl-PL" sz="1400" kern="1200" dirty="0"/>
            <a:t>Easy and agile deployment</a:t>
          </a:r>
          <a:endParaRPr lang="de-DE" sz="1400" kern="1200" dirty="0"/>
        </a:p>
      </dsp:txBody>
      <dsp:txXfrm>
        <a:off x="4971261" y="4002556"/>
        <a:ext cx="1468479" cy="696557"/>
      </dsp:txXfrm>
    </dsp:sp>
    <dsp:sp modelId="{51D98549-317B-4EDC-A8BC-9705CBBB0C3C}">
      <dsp:nvSpPr>
        <dsp:cNvPr id="0" name=""/>
        <dsp:cNvSpPr/>
      </dsp:nvSpPr>
      <dsp:spPr>
        <a:xfrm>
          <a:off x="3292078" y="4644806"/>
          <a:ext cx="1543843" cy="771921"/>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pl-PL" sz="1400" kern="1200" dirty="0"/>
            <a:t>Lower TCO</a:t>
          </a:r>
          <a:endParaRPr lang="de-DE" sz="1400" kern="1200" dirty="0"/>
        </a:p>
      </dsp:txBody>
      <dsp:txXfrm>
        <a:off x="3329760" y="4682488"/>
        <a:ext cx="1468479" cy="696557"/>
      </dsp:txXfrm>
    </dsp:sp>
    <dsp:sp modelId="{5F94149B-D88D-4BF7-AFF5-E403D7248665}">
      <dsp:nvSpPr>
        <dsp:cNvPr id="0" name=""/>
        <dsp:cNvSpPr/>
      </dsp:nvSpPr>
      <dsp:spPr>
        <a:xfrm>
          <a:off x="1650576" y="3964874"/>
          <a:ext cx="1543843" cy="7719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pl-PL" sz="1400" kern="1200" dirty="0"/>
            <a:t>Secure storage manager</a:t>
          </a:r>
          <a:endParaRPr lang="de-DE" sz="1400" kern="1200" dirty="0"/>
        </a:p>
      </dsp:txBody>
      <dsp:txXfrm>
        <a:off x="1688258" y="4002556"/>
        <a:ext cx="1468479" cy="696557"/>
      </dsp:txXfrm>
    </dsp:sp>
    <dsp:sp modelId="{DB2F9532-83D8-43BE-BDCF-B8192D946937}">
      <dsp:nvSpPr>
        <dsp:cNvPr id="0" name=""/>
        <dsp:cNvSpPr/>
      </dsp:nvSpPr>
      <dsp:spPr>
        <a:xfrm>
          <a:off x="970643" y="2323372"/>
          <a:ext cx="1543843" cy="77192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pl-PL" sz="1400" kern="1200" dirty="0"/>
            <a:t>Frees up internal resources</a:t>
          </a:r>
          <a:endParaRPr lang="de-DE" sz="1400" kern="1200" dirty="0"/>
        </a:p>
      </dsp:txBody>
      <dsp:txXfrm>
        <a:off x="1008325" y="2361054"/>
        <a:ext cx="1468479" cy="696557"/>
      </dsp:txXfrm>
    </dsp:sp>
    <dsp:sp modelId="{84550CAD-D29B-4632-8AC6-B632D082254D}">
      <dsp:nvSpPr>
        <dsp:cNvPr id="0" name=""/>
        <dsp:cNvSpPr/>
      </dsp:nvSpPr>
      <dsp:spPr>
        <a:xfrm>
          <a:off x="1650576" y="681870"/>
          <a:ext cx="1543843" cy="77192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pl-PL" sz="1400" kern="1200" dirty="0"/>
            <a:t>Device and location independent</a:t>
          </a:r>
          <a:endParaRPr lang="de-DE" sz="1400" kern="1200" dirty="0"/>
        </a:p>
      </dsp:txBody>
      <dsp:txXfrm>
        <a:off x="1688258" y="719552"/>
        <a:ext cx="1468479" cy="6965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B05E90-DE7F-46DA-8B3F-25B94DC2202B}">
      <dsp:nvSpPr>
        <dsp:cNvPr id="0" name=""/>
        <dsp:cNvSpPr/>
      </dsp:nvSpPr>
      <dsp:spPr>
        <a:xfrm>
          <a:off x="4735923" y="3311544"/>
          <a:ext cx="2405739" cy="1558374"/>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3916449"/>
              <a:satOff val="-64"/>
              <a:lumOff val="-105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pl-PL" sz="1700" kern="1200" dirty="0"/>
            <a:t>Public Cloud</a:t>
          </a:r>
          <a:endParaRPr lang="de-DE" sz="1700" kern="1200" dirty="0"/>
        </a:p>
      </dsp:txBody>
      <dsp:txXfrm>
        <a:off x="5491877" y="3735370"/>
        <a:ext cx="1615553" cy="1100316"/>
      </dsp:txXfrm>
    </dsp:sp>
    <dsp:sp modelId="{B2A88913-9DE3-43FE-89C9-C2C082B912C2}">
      <dsp:nvSpPr>
        <dsp:cNvPr id="0" name=""/>
        <dsp:cNvSpPr/>
      </dsp:nvSpPr>
      <dsp:spPr>
        <a:xfrm>
          <a:off x="810768" y="3311544"/>
          <a:ext cx="2405739" cy="1558374"/>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4674"/>
              <a:satOff val="-96"/>
              <a:lumOff val="-1588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pl-PL" sz="1700" kern="1200" dirty="0"/>
            <a:t>Hybrid Cloud</a:t>
          </a:r>
          <a:endParaRPr lang="de-DE" sz="1700" kern="1200" dirty="0"/>
        </a:p>
      </dsp:txBody>
      <dsp:txXfrm>
        <a:off x="845000" y="3735370"/>
        <a:ext cx="1615553" cy="1100316"/>
      </dsp:txXfrm>
    </dsp:sp>
    <dsp:sp modelId="{C82DDF52-8735-439A-AE5A-746CB5BF674A}">
      <dsp:nvSpPr>
        <dsp:cNvPr id="0" name=""/>
        <dsp:cNvSpPr/>
      </dsp:nvSpPr>
      <dsp:spPr>
        <a:xfrm>
          <a:off x="4735923" y="0"/>
          <a:ext cx="2405739" cy="1558374"/>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958225"/>
              <a:satOff val="-32"/>
              <a:lumOff val="-529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pl-PL" sz="1700" kern="1200" dirty="0"/>
            <a:t>Community Cloud</a:t>
          </a:r>
          <a:endParaRPr lang="de-DE" sz="1700" kern="1200" dirty="0"/>
        </a:p>
      </dsp:txBody>
      <dsp:txXfrm>
        <a:off x="5491877" y="34232"/>
        <a:ext cx="1615553" cy="1100316"/>
      </dsp:txXfrm>
    </dsp:sp>
    <dsp:sp modelId="{5CDD9EEF-015E-46C3-869C-146E29BF7D4C}">
      <dsp:nvSpPr>
        <dsp:cNvPr id="0" name=""/>
        <dsp:cNvSpPr/>
      </dsp:nvSpPr>
      <dsp:spPr>
        <a:xfrm>
          <a:off x="810768" y="0"/>
          <a:ext cx="2405739" cy="1558374"/>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pl-PL" sz="1700" kern="1200" dirty="0"/>
            <a:t>Private Cloud</a:t>
          </a:r>
          <a:endParaRPr lang="de-DE" sz="1700" kern="1200" dirty="0"/>
        </a:p>
      </dsp:txBody>
      <dsp:txXfrm>
        <a:off x="845000" y="34232"/>
        <a:ext cx="1615553" cy="1100316"/>
      </dsp:txXfrm>
    </dsp:sp>
    <dsp:sp modelId="{28E83C51-1C03-472F-92A0-83BB4C0A4AEC}">
      <dsp:nvSpPr>
        <dsp:cNvPr id="0" name=""/>
        <dsp:cNvSpPr/>
      </dsp:nvSpPr>
      <dsp:spPr>
        <a:xfrm>
          <a:off x="1818841" y="277585"/>
          <a:ext cx="2108674" cy="2108674"/>
        </a:xfrm>
        <a:prstGeom prst="pieWedg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pl-PL" sz="1400" kern="1200" dirty="0"/>
            <a:t>Owned by a single organization</a:t>
          </a:r>
          <a:endParaRPr lang="de-DE" sz="1400" kern="1200" dirty="0"/>
        </a:p>
      </dsp:txBody>
      <dsp:txXfrm>
        <a:off x="2436457" y="895201"/>
        <a:ext cx="1491058" cy="1491058"/>
      </dsp:txXfrm>
    </dsp:sp>
    <dsp:sp modelId="{C15E6C0D-CAA7-4F8E-AF45-EEF49FEFBCD4}">
      <dsp:nvSpPr>
        <dsp:cNvPr id="0" name=""/>
        <dsp:cNvSpPr/>
      </dsp:nvSpPr>
      <dsp:spPr>
        <a:xfrm rot="5400000">
          <a:off x="4024915" y="277585"/>
          <a:ext cx="2108674" cy="2108674"/>
        </a:xfrm>
        <a:prstGeom prst="pieWedge">
          <a:avLst/>
        </a:prstGeom>
        <a:solidFill>
          <a:schemeClr val="accent5">
            <a:hueOff val="1958225"/>
            <a:satOff val="-32"/>
            <a:lumOff val="-5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pl-PL" sz="1400" kern="1200" dirty="0"/>
            <a:t>Shared by serveral organizations</a:t>
          </a:r>
          <a:endParaRPr lang="de-DE" sz="1400" kern="1200" dirty="0"/>
        </a:p>
      </dsp:txBody>
      <dsp:txXfrm rot="-5400000">
        <a:off x="4024915" y="895201"/>
        <a:ext cx="1491058" cy="1491058"/>
      </dsp:txXfrm>
    </dsp:sp>
    <dsp:sp modelId="{84DC1035-9A9F-4D90-B412-B22A975AF237}">
      <dsp:nvSpPr>
        <dsp:cNvPr id="0" name=""/>
        <dsp:cNvSpPr/>
      </dsp:nvSpPr>
      <dsp:spPr>
        <a:xfrm rot="10800000">
          <a:off x="4024915" y="2483658"/>
          <a:ext cx="2108674" cy="2108674"/>
        </a:xfrm>
        <a:prstGeom prst="pieWedge">
          <a:avLst/>
        </a:prstGeom>
        <a:solidFill>
          <a:schemeClr val="accent5">
            <a:hueOff val="3916449"/>
            <a:satOff val="-64"/>
            <a:lumOff val="-105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pl-PL" sz="1400" kern="1200" dirty="0"/>
            <a:t>Used by one organization which sells cloud services</a:t>
          </a:r>
          <a:endParaRPr lang="de-DE" sz="1400" kern="1200" dirty="0"/>
        </a:p>
      </dsp:txBody>
      <dsp:txXfrm rot="10800000">
        <a:off x="4024915" y="2483658"/>
        <a:ext cx="1491058" cy="1491058"/>
      </dsp:txXfrm>
    </dsp:sp>
    <dsp:sp modelId="{650B420D-9A8D-4056-8F21-3E7450B9E01E}">
      <dsp:nvSpPr>
        <dsp:cNvPr id="0" name=""/>
        <dsp:cNvSpPr/>
      </dsp:nvSpPr>
      <dsp:spPr>
        <a:xfrm rot="16200000">
          <a:off x="1818841" y="2483658"/>
          <a:ext cx="2108674" cy="2108674"/>
        </a:xfrm>
        <a:prstGeom prst="pieWedge">
          <a:avLst/>
        </a:prstGeom>
        <a:solidFill>
          <a:schemeClr val="accent5">
            <a:hueOff val="5874674"/>
            <a:satOff val="-96"/>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pl-PL" sz="1400" kern="1200" dirty="0"/>
            <a:t>Composition of the clouds</a:t>
          </a:r>
          <a:endParaRPr lang="de-DE" sz="1400" kern="1200" dirty="0"/>
        </a:p>
      </dsp:txBody>
      <dsp:txXfrm rot="5400000">
        <a:off x="2436457" y="2483658"/>
        <a:ext cx="1491058" cy="1491058"/>
      </dsp:txXfrm>
    </dsp:sp>
    <dsp:sp modelId="{4BB50CDF-C10A-470F-ACCF-F734BD4D9585}">
      <dsp:nvSpPr>
        <dsp:cNvPr id="0" name=""/>
        <dsp:cNvSpPr/>
      </dsp:nvSpPr>
      <dsp:spPr>
        <a:xfrm>
          <a:off x="3612189" y="1996666"/>
          <a:ext cx="728052" cy="633089"/>
        </a:xfrm>
        <a:prstGeom prst="circularArrow">
          <a:avLst/>
        </a:prstGeom>
        <a:solidFill>
          <a:schemeClr val="accent5">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03B5FAA-B94C-453E-9B01-0C19AEA05ADA}">
      <dsp:nvSpPr>
        <dsp:cNvPr id="0" name=""/>
        <dsp:cNvSpPr/>
      </dsp:nvSpPr>
      <dsp:spPr>
        <a:xfrm rot="10800000">
          <a:off x="3612189" y="2240162"/>
          <a:ext cx="728052" cy="633089"/>
        </a:xfrm>
        <a:prstGeom prst="circularArrow">
          <a:avLst/>
        </a:prstGeom>
        <a:solidFill>
          <a:schemeClr val="accent5">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AEE6EA-2C81-4DBD-99A1-D05EC1A66EE6}">
      <dsp:nvSpPr>
        <dsp:cNvPr id="0" name=""/>
        <dsp:cNvSpPr/>
      </dsp:nvSpPr>
      <dsp:spPr>
        <a:xfrm rot="5400000">
          <a:off x="-273383" y="1167108"/>
          <a:ext cx="1213183" cy="146446"/>
        </a:xfrm>
        <a:prstGeom prst="rect">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89F261-BC77-4A13-96DF-F4001797014B}">
      <dsp:nvSpPr>
        <dsp:cNvPr id="0" name=""/>
        <dsp:cNvSpPr/>
      </dsp:nvSpPr>
      <dsp:spPr>
        <a:xfrm>
          <a:off x="4167" y="390591"/>
          <a:ext cx="1627187" cy="976312"/>
        </a:xfrm>
        <a:prstGeom prst="roundRect">
          <a:avLst>
            <a:gd name="adj" fmla="val 10000"/>
          </a:avLst>
        </a:prstGeom>
        <a:solidFill>
          <a:schemeClr val="accent3">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Font typeface="Arial" panose="020B0604020202020204" pitchFamily="34" charset="0"/>
            <a:buNone/>
          </a:pPr>
          <a:r>
            <a:rPr lang="pl-PL" sz="1100" kern="1200"/>
            <a:t>IT services available to any subscriber on the Internet</a:t>
          </a:r>
          <a:endParaRPr lang="de-DE" sz="1100" kern="1200" dirty="0"/>
        </a:p>
      </dsp:txBody>
      <dsp:txXfrm>
        <a:off x="32762" y="419186"/>
        <a:ext cx="1569997" cy="919122"/>
      </dsp:txXfrm>
    </dsp:sp>
    <dsp:sp modelId="{ECE53AFB-51FA-4707-A40E-731A35FE286B}">
      <dsp:nvSpPr>
        <dsp:cNvPr id="0" name=""/>
        <dsp:cNvSpPr/>
      </dsp:nvSpPr>
      <dsp:spPr>
        <a:xfrm rot="5400000">
          <a:off x="-273383" y="2387499"/>
          <a:ext cx="1213183" cy="146446"/>
        </a:xfrm>
        <a:prstGeom prst="rect">
          <a:avLst/>
        </a:prstGeom>
        <a:solidFill>
          <a:schemeClr val="accent3">
            <a:shade val="90000"/>
            <a:hueOff val="-81920"/>
            <a:satOff val="-10031"/>
            <a:lumOff val="874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A674C85-F1C9-4AC9-84D4-5BEC6FAF818E}">
      <dsp:nvSpPr>
        <dsp:cNvPr id="0" name=""/>
        <dsp:cNvSpPr/>
      </dsp:nvSpPr>
      <dsp:spPr>
        <a:xfrm>
          <a:off x="4167" y="1610981"/>
          <a:ext cx="1627187" cy="976312"/>
        </a:xfrm>
        <a:prstGeom prst="roundRect">
          <a:avLst>
            <a:gd name="adj" fmla="val 10000"/>
          </a:avLst>
        </a:prstGeom>
        <a:solidFill>
          <a:schemeClr val="accent3">
            <a:shade val="50000"/>
            <a:hueOff val="-71625"/>
            <a:satOff val="-10123"/>
            <a:lumOff val="82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IT services hosted on provider equipment – all costs covered by provider</a:t>
          </a:r>
          <a:endParaRPr lang="pl-PL" sz="1100" kern="1200" dirty="0"/>
        </a:p>
      </dsp:txBody>
      <dsp:txXfrm>
        <a:off x="32762" y="1639576"/>
        <a:ext cx="1569997" cy="919122"/>
      </dsp:txXfrm>
    </dsp:sp>
    <dsp:sp modelId="{32C988AE-6F40-447B-99FF-7B79E602B135}">
      <dsp:nvSpPr>
        <dsp:cNvPr id="0" name=""/>
        <dsp:cNvSpPr/>
      </dsp:nvSpPr>
      <dsp:spPr>
        <a:xfrm rot="5400000">
          <a:off x="-273383" y="3607890"/>
          <a:ext cx="1213183" cy="146446"/>
        </a:xfrm>
        <a:prstGeom prst="rect">
          <a:avLst/>
        </a:prstGeom>
        <a:solidFill>
          <a:schemeClr val="accent3">
            <a:shade val="90000"/>
            <a:hueOff val="-163840"/>
            <a:satOff val="-20061"/>
            <a:lumOff val="1749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B6F10C-36AC-485D-9341-57EB0F549180}">
      <dsp:nvSpPr>
        <dsp:cNvPr id="0" name=""/>
        <dsp:cNvSpPr/>
      </dsp:nvSpPr>
      <dsp:spPr>
        <a:xfrm>
          <a:off x="4167" y="2831372"/>
          <a:ext cx="1627187" cy="976312"/>
        </a:xfrm>
        <a:prstGeom prst="roundRect">
          <a:avLst>
            <a:gd name="adj" fmla="val 10000"/>
          </a:avLst>
        </a:prstGeom>
        <a:solidFill>
          <a:schemeClr val="accent3">
            <a:shade val="50000"/>
            <a:hueOff val="-143251"/>
            <a:satOff val="-20246"/>
            <a:lumOff val="164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Service is available 24/7</a:t>
          </a:r>
          <a:endParaRPr lang="pl-PL" sz="1100" kern="1200" dirty="0"/>
        </a:p>
      </dsp:txBody>
      <dsp:txXfrm>
        <a:off x="32762" y="2859967"/>
        <a:ext cx="1569997" cy="919122"/>
      </dsp:txXfrm>
    </dsp:sp>
    <dsp:sp modelId="{27C045D3-5A9B-45B3-B98A-A9F11312EF80}">
      <dsp:nvSpPr>
        <dsp:cNvPr id="0" name=""/>
        <dsp:cNvSpPr/>
      </dsp:nvSpPr>
      <dsp:spPr>
        <a:xfrm>
          <a:off x="336811" y="4218085"/>
          <a:ext cx="2156952" cy="146446"/>
        </a:xfrm>
        <a:prstGeom prst="rect">
          <a:avLst/>
        </a:prstGeom>
        <a:solidFill>
          <a:schemeClr val="accent3">
            <a:shade val="90000"/>
            <a:hueOff val="-245759"/>
            <a:satOff val="-30092"/>
            <a:lumOff val="2624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824B68D-B7EC-4FD2-BBF4-FD036D6F82CC}">
      <dsp:nvSpPr>
        <dsp:cNvPr id="0" name=""/>
        <dsp:cNvSpPr/>
      </dsp:nvSpPr>
      <dsp:spPr>
        <a:xfrm>
          <a:off x="4167" y="4051763"/>
          <a:ext cx="1627187" cy="976312"/>
        </a:xfrm>
        <a:prstGeom prst="roundRect">
          <a:avLst>
            <a:gd name="adj" fmla="val 10000"/>
          </a:avLst>
        </a:prstGeom>
        <a:solidFill>
          <a:schemeClr val="accent3">
            <a:shade val="50000"/>
            <a:hueOff val="-214876"/>
            <a:satOff val="-30369"/>
            <a:lumOff val="247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Easy and inexpensive for consumers – pay for what you use</a:t>
          </a:r>
          <a:endParaRPr lang="pl-PL" sz="1100" kern="1200" dirty="0"/>
        </a:p>
      </dsp:txBody>
      <dsp:txXfrm>
        <a:off x="32762" y="4080358"/>
        <a:ext cx="1569997" cy="919122"/>
      </dsp:txXfrm>
    </dsp:sp>
    <dsp:sp modelId="{D53E1A61-DF71-46CE-8C44-A57D2F07E105}">
      <dsp:nvSpPr>
        <dsp:cNvPr id="0" name=""/>
        <dsp:cNvSpPr/>
      </dsp:nvSpPr>
      <dsp:spPr>
        <a:xfrm rot="16200000">
          <a:off x="1890775" y="3607890"/>
          <a:ext cx="1213183" cy="146446"/>
        </a:xfrm>
        <a:prstGeom prst="rect">
          <a:avLst/>
        </a:prstGeom>
        <a:solidFill>
          <a:schemeClr val="accent3">
            <a:shade val="90000"/>
            <a:hueOff val="-327679"/>
            <a:satOff val="-40123"/>
            <a:lumOff val="3499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5686584-C952-4FF9-A05D-05783C7C9A1B}">
      <dsp:nvSpPr>
        <dsp:cNvPr id="0" name=""/>
        <dsp:cNvSpPr/>
      </dsp:nvSpPr>
      <dsp:spPr>
        <a:xfrm>
          <a:off x="2168326" y="4051763"/>
          <a:ext cx="1627187" cy="976312"/>
        </a:xfrm>
        <a:prstGeom prst="roundRect">
          <a:avLst>
            <a:gd name="adj" fmla="val 10000"/>
          </a:avLst>
        </a:prstGeom>
        <a:solidFill>
          <a:schemeClr val="accent3">
            <a:shade val="50000"/>
            <a:hueOff val="-286502"/>
            <a:satOff val="-40492"/>
            <a:lumOff val="329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Supports multiple customers</a:t>
          </a:r>
          <a:endParaRPr lang="pl-PL" sz="1100" kern="1200" dirty="0"/>
        </a:p>
      </dsp:txBody>
      <dsp:txXfrm>
        <a:off x="2196921" y="4080358"/>
        <a:ext cx="1569997" cy="919122"/>
      </dsp:txXfrm>
    </dsp:sp>
    <dsp:sp modelId="{0FCC7A8C-E0F2-4B94-8BD4-FF84C2F2DB5A}">
      <dsp:nvSpPr>
        <dsp:cNvPr id="0" name=""/>
        <dsp:cNvSpPr/>
      </dsp:nvSpPr>
      <dsp:spPr>
        <a:xfrm rot="16200000">
          <a:off x="1890775" y="2387499"/>
          <a:ext cx="1213183" cy="146446"/>
        </a:xfrm>
        <a:prstGeom prst="rect">
          <a:avLst/>
        </a:prstGeom>
        <a:solidFill>
          <a:schemeClr val="accent3">
            <a:shade val="90000"/>
            <a:hueOff val="-409599"/>
            <a:satOff val="-50154"/>
            <a:lumOff val="4374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51D34F1-5B10-41ED-9385-2C63F5D0A002}">
      <dsp:nvSpPr>
        <dsp:cNvPr id="0" name=""/>
        <dsp:cNvSpPr/>
      </dsp:nvSpPr>
      <dsp:spPr>
        <a:xfrm>
          <a:off x="2168326" y="2831372"/>
          <a:ext cx="1627187" cy="976312"/>
        </a:xfrm>
        <a:prstGeom prst="roundRect">
          <a:avLst>
            <a:gd name="adj" fmla="val 10000"/>
          </a:avLst>
        </a:prstGeom>
        <a:solidFill>
          <a:schemeClr val="accent3">
            <a:shade val="50000"/>
            <a:hueOff val="-358127"/>
            <a:satOff val="-50615"/>
            <a:lumOff val="412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Suited for information that is not sensitive</a:t>
          </a:r>
          <a:endParaRPr lang="pl-PL" sz="1100" kern="1200" dirty="0"/>
        </a:p>
      </dsp:txBody>
      <dsp:txXfrm>
        <a:off x="2196921" y="2859967"/>
        <a:ext cx="1569997" cy="919122"/>
      </dsp:txXfrm>
    </dsp:sp>
    <dsp:sp modelId="{318318A3-47E8-4916-A8F2-0AC67CCC29E6}">
      <dsp:nvSpPr>
        <dsp:cNvPr id="0" name=""/>
        <dsp:cNvSpPr/>
      </dsp:nvSpPr>
      <dsp:spPr>
        <a:xfrm rot="16200000">
          <a:off x="1890775" y="1167108"/>
          <a:ext cx="1213183" cy="146446"/>
        </a:xfrm>
        <a:prstGeom prst="rect">
          <a:avLst/>
        </a:prstGeom>
        <a:solidFill>
          <a:schemeClr val="accent3">
            <a:shade val="90000"/>
            <a:hueOff val="-491519"/>
            <a:satOff val="-60184"/>
            <a:lumOff val="5249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1305969-BAF9-4E08-A423-4DE487FA40DF}">
      <dsp:nvSpPr>
        <dsp:cNvPr id="0" name=""/>
        <dsp:cNvSpPr/>
      </dsp:nvSpPr>
      <dsp:spPr>
        <a:xfrm>
          <a:off x="2168326" y="1610981"/>
          <a:ext cx="1627187" cy="976312"/>
        </a:xfrm>
        <a:prstGeom prst="roundRect">
          <a:avLst>
            <a:gd name="adj" fmla="val 10000"/>
          </a:avLst>
        </a:prstGeom>
        <a:solidFill>
          <a:schemeClr val="accent3">
            <a:shade val="50000"/>
            <a:hueOff val="-429753"/>
            <a:satOff val="-60738"/>
            <a:lumOff val="4946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Rapid scalability – on-demand provisioning</a:t>
          </a:r>
          <a:endParaRPr lang="pl-PL" sz="1100" kern="1200" dirty="0"/>
        </a:p>
      </dsp:txBody>
      <dsp:txXfrm>
        <a:off x="2196921" y="1639576"/>
        <a:ext cx="1569997" cy="919122"/>
      </dsp:txXfrm>
    </dsp:sp>
    <dsp:sp modelId="{6D4F15D9-761E-4247-86A6-3A485AE3F25B}">
      <dsp:nvSpPr>
        <dsp:cNvPr id="0" name=""/>
        <dsp:cNvSpPr/>
      </dsp:nvSpPr>
      <dsp:spPr>
        <a:xfrm>
          <a:off x="2500971" y="556913"/>
          <a:ext cx="2156952" cy="146446"/>
        </a:xfrm>
        <a:prstGeom prst="rect">
          <a:avLst/>
        </a:prstGeom>
        <a:solidFill>
          <a:schemeClr val="accent3">
            <a:shade val="90000"/>
            <a:hueOff val="-573439"/>
            <a:satOff val="-70215"/>
            <a:lumOff val="6124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41385AA-5114-43F2-86F5-CB25FDAF6CDF}">
      <dsp:nvSpPr>
        <dsp:cNvPr id="0" name=""/>
        <dsp:cNvSpPr/>
      </dsp:nvSpPr>
      <dsp:spPr>
        <a:xfrm>
          <a:off x="2168326" y="390591"/>
          <a:ext cx="1627187" cy="976312"/>
        </a:xfrm>
        <a:prstGeom prst="roundRect">
          <a:avLst>
            <a:gd name="adj" fmla="val 10000"/>
          </a:avLst>
        </a:prstGeom>
        <a:solidFill>
          <a:schemeClr val="accent3">
            <a:shade val="50000"/>
            <a:hueOff val="-501378"/>
            <a:satOff val="-70861"/>
            <a:lumOff val="577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Data centers can replicate data</a:t>
          </a:r>
          <a:endParaRPr lang="pl-PL" sz="1100" kern="1200" dirty="0"/>
        </a:p>
      </dsp:txBody>
      <dsp:txXfrm>
        <a:off x="2196921" y="419186"/>
        <a:ext cx="1569997" cy="919122"/>
      </dsp:txXfrm>
    </dsp:sp>
    <dsp:sp modelId="{8F2E311F-8D99-41F8-B1BC-8C2DA64BA37E}">
      <dsp:nvSpPr>
        <dsp:cNvPr id="0" name=""/>
        <dsp:cNvSpPr/>
      </dsp:nvSpPr>
      <dsp:spPr>
        <a:xfrm rot="5400000">
          <a:off x="4054935" y="1167108"/>
          <a:ext cx="1213183" cy="146446"/>
        </a:xfrm>
        <a:prstGeom prst="rect">
          <a:avLst/>
        </a:prstGeom>
        <a:solidFill>
          <a:schemeClr val="accent3">
            <a:shade val="90000"/>
            <a:hueOff val="-491519"/>
            <a:satOff val="-60184"/>
            <a:lumOff val="5249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EC35816-23C0-4993-8D92-A3684630B19A}">
      <dsp:nvSpPr>
        <dsp:cNvPr id="0" name=""/>
        <dsp:cNvSpPr/>
      </dsp:nvSpPr>
      <dsp:spPr>
        <a:xfrm>
          <a:off x="4332485" y="390591"/>
          <a:ext cx="1627187" cy="976312"/>
        </a:xfrm>
        <a:prstGeom prst="roundRect">
          <a:avLst>
            <a:gd name="adj" fmla="val 10000"/>
          </a:avLst>
        </a:prstGeom>
        <a:solidFill>
          <a:schemeClr val="accent3">
            <a:shade val="50000"/>
            <a:hueOff val="-501378"/>
            <a:satOff val="-70861"/>
            <a:lumOff val="577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Provider makes capital investment in infrastructure</a:t>
          </a:r>
          <a:endParaRPr lang="pl-PL" sz="1100" kern="1200" dirty="0"/>
        </a:p>
      </dsp:txBody>
      <dsp:txXfrm>
        <a:off x="4361080" y="419186"/>
        <a:ext cx="1569997" cy="919122"/>
      </dsp:txXfrm>
    </dsp:sp>
    <dsp:sp modelId="{66F9F999-0659-405F-AC06-FE64C6504665}">
      <dsp:nvSpPr>
        <dsp:cNvPr id="0" name=""/>
        <dsp:cNvSpPr/>
      </dsp:nvSpPr>
      <dsp:spPr>
        <a:xfrm rot="5400000">
          <a:off x="4054935" y="2387499"/>
          <a:ext cx="1213183" cy="146446"/>
        </a:xfrm>
        <a:prstGeom prst="rect">
          <a:avLst/>
        </a:prstGeom>
        <a:solidFill>
          <a:schemeClr val="accent3">
            <a:shade val="90000"/>
            <a:hueOff val="-409599"/>
            <a:satOff val="-50154"/>
            <a:lumOff val="4374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478C1E-E1D9-4432-A45D-794E3F3FAA81}">
      <dsp:nvSpPr>
        <dsp:cNvPr id="0" name=""/>
        <dsp:cNvSpPr/>
      </dsp:nvSpPr>
      <dsp:spPr>
        <a:xfrm>
          <a:off x="4332485" y="1610981"/>
          <a:ext cx="1627187" cy="976312"/>
        </a:xfrm>
        <a:prstGeom prst="roundRect">
          <a:avLst>
            <a:gd name="adj" fmla="val 10000"/>
          </a:avLst>
        </a:prstGeom>
        <a:solidFill>
          <a:schemeClr val="accent3">
            <a:shade val="50000"/>
            <a:hueOff val="-429753"/>
            <a:satOff val="-60738"/>
            <a:lumOff val="4946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Consumers treat public cloud costs as operational expenses</a:t>
          </a:r>
          <a:endParaRPr lang="pl-PL" sz="1100" kern="1200" dirty="0"/>
        </a:p>
      </dsp:txBody>
      <dsp:txXfrm>
        <a:off x="4361080" y="1639576"/>
        <a:ext cx="1569997" cy="919122"/>
      </dsp:txXfrm>
    </dsp:sp>
    <dsp:sp modelId="{5FF386D0-E8C3-4DF5-9295-C8FBAC4B6643}">
      <dsp:nvSpPr>
        <dsp:cNvPr id="0" name=""/>
        <dsp:cNvSpPr/>
      </dsp:nvSpPr>
      <dsp:spPr>
        <a:xfrm rot="5400000">
          <a:off x="4054935" y="3607890"/>
          <a:ext cx="1213183" cy="146446"/>
        </a:xfrm>
        <a:prstGeom prst="rect">
          <a:avLst/>
        </a:prstGeom>
        <a:solidFill>
          <a:schemeClr val="accent3">
            <a:shade val="90000"/>
            <a:hueOff val="-327679"/>
            <a:satOff val="-40123"/>
            <a:lumOff val="3499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F982158-4841-4837-AA3E-14FF628E064E}">
      <dsp:nvSpPr>
        <dsp:cNvPr id="0" name=""/>
        <dsp:cNvSpPr/>
      </dsp:nvSpPr>
      <dsp:spPr>
        <a:xfrm>
          <a:off x="4332485" y="2831372"/>
          <a:ext cx="1627187" cy="976312"/>
        </a:xfrm>
        <a:prstGeom prst="roundRect">
          <a:avLst>
            <a:gd name="adj" fmla="val 10000"/>
          </a:avLst>
        </a:prstGeom>
        <a:solidFill>
          <a:schemeClr val="accent3">
            <a:shade val="50000"/>
            <a:hueOff val="-358127"/>
            <a:satOff val="-50615"/>
            <a:lumOff val="412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Reduced local space use, energy consumption</a:t>
          </a:r>
          <a:endParaRPr lang="pl-PL" sz="1100" kern="1200" dirty="0"/>
        </a:p>
      </dsp:txBody>
      <dsp:txXfrm>
        <a:off x="4361080" y="2859967"/>
        <a:ext cx="1569997" cy="919122"/>
      </dsp:txXfrm>
    </dsp:sp>
    <dsp:sp modelId="{31EFA101-89D3-4F1F-9D24-3D7FCCC33952}">
      <dsp:nvSpPr>
        <dsp:cNvPr id="0" name=""/>
        <dsp:cNvSpPr/>
      </dsp:nvSpPr>
      <dsp:spPr>
        <a:xfrm>
          <a:off x="4665130" y="4218085"/>
          <a:ext cx="2156952" cy="146446"/>
        </a:xfrm>
        <a:prstGeom prst="rect">
          <a:avLst/>
        </a:prstGeom>
        <a:solidFill>
          <a:schemeClr val="accent3">
            <a:shade val="90000"/>
            <a:hueOff val="-245759"/>
            <a:satOff val="-30092"/>
            <a:lumOff val="2624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6A94245-24E9-4352-84AD-3976EEBEF82E}">
      <dsp:nvSpPr>
        <dsp:cNvPr id="0" name=""/>
        <dsp:cNvSpPr/>
      </dsp:nvSpPr>
      <dsp:spPr>
        <a:xfrm>
          <a:off x="4332485" y="4051763"/>
          <a:ext cx="1627187" cy="976312"/>
        </a:xfrm>
        <a:prstGeom prst="roundRect">
          <a:avLst>
            <a:gd name="adj" fmla="val 10000"/>
          </a:avLst>
        </a:prstGeom>
        <a:solidFill>
          <a:schemeClr val="accent3">
            <a:shade val="50000"/>
            <a:hueOff val="-286502"/>
            <a:satOff val="-40492"/>
            <a:lumOff val="329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Less local IT expertise required – maintained by external provider</a:t>
          </a:r>
          <a:endParaRPr lang="pl-PL" sz="1100" kern="1200" dirty="0"/>
        </a:p>
      </dsp:txBody>
      <dsp:txXfrm>
        <a:off x="4361080" y="4080358"/>
        <a:ext cx="1569997" cy="919122"/>
      </dsp:txXfrm>
    </dsp:sp>
    <dsp:sp modelId="{D90A80F3-C9E7-4AC1-81B7-6C076584F633}">
      <dsp:nvSpPr>
        <dsp:cNvPr id="0" name=""/>
        <dsp:cNvSpPr/>
      </dsp:nvSpPr>
      <dsp:spPr>
        <a:xfrm rot="16200000">
          <a:off x="6219094" y="3607890"/>
          <a:ext cx="1213183" cy="146446"/>
        </a:xfrm>
        <a:prstGeom prst="rect">
          <a:avLst/>
        </a:prstGeom>
        <a:solidFill>
          <a:schemeClr val="accent3">
            <a:shade val="90000"/>
            <a:hueOff val="-163840"/>
            <a:satOff val="-20061"/>
            <a:lumOff val="1749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B46295D-1C73-4FB2-A2D4-8A5256589DFA}">
      <dsp:nvSpPr>
        <dsp:cNvPr id="0" name=""/>
        <dsp:cNvSpPr/>
      </dsp:nvSpPr>
      <dsp:spPr>
        <a:xfrm>
          <a:off x="6496645" y="4051763"/>
          <a:ext cx="1627187" cy="976312"/>
        </a:xfrm>
        <a:prstGeom prst="roundRect">
          <a:avLst>
            <a:gd name="adj" fmla="val 10000"/>
          </a:avLst>
        </a:prstGeom>
        <a:solidFill>
          <a:schemeClr val="accent3">
            <a:shade val="50000"/>
            <a:hueOff val="-214876"/>
            <a:satOff val="-30369"/>
            <a:lumOff val="247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Responsibility for IT service maintenance falls on provider</a:t>
          </a:r>
          <a:endParaRPr lang="pl-PL" sz="1100" kern="1200" dirty="0"/>
        </a:p>
      </dsp:txBody>
      <dsp:txXfrm>
        <a:off x="6525240" y="4080358"/>
        <a:ext cx="1569997" cy="919122"/>
      </dsp:txXfrm>
    </dsp:sp>
    <dsp:sp modelId="{9BDD97BD-A788-4920-A8A4-2342E2B17EAF}">
      <dsp:nvSpPr>
        <dsp:cNvPr id="0" name=""/>
        <dsp:cNvSpPr/>
      </dsp:nvSpPr>
      <dsp:spPr>
        <a:xfrm rot="16200000">
          <a:off x="6219094" y="2387499"/>
          <a:ext cx="1213183" cy="146446"/>
        </a:xfrm>
        <a:prstGeom prst="rect">
          <a:avLst/>
        </a:prstGeom>
        <a:solidFill>
          <a:schemeClr val="accent3">
            <a:shade val="90000"/>
            <a:hueOff val="-81920"/>
            <a:satOff val="-10031"/>
            <a:lumOff val="874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C68EC6C-BD4C-4C05-8EBF-97B5B23139EA}">
      <dsp:nvSpPr>
        <dsp:cNvPr id="0" name=""/>
        <dsp:cNvSpPr/>
      </dsp:nvSpPr>
      <dsp:spPr>
        <a:xfrm>
          <a:off x="6496645" y="2831372"/>
          <a:ext cx="1627187" cy="976312"/>
        </a:xfrm>
        <a:prstGeom prst="roundRect">
          <a:avLst>
            <a:gd name="adj" fmla="val 10000"/>
          </a:avLst>
        </a:prstGeom>
        <a:solidFill>
          <a:schemeClr val="accent3">
            <a:shade val="50000"/>
            <a:hueOff val="-143251"/>
            <a:satOff val="-20246"/>
            <a:lumOff val="164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No full control over the data</a:t>
          </a:r>
          <a:endParaRPr lang="pl-PL" sz="1100" kern="1200" dirty="0"/>
        </a:p>
      </dsp:txBody>
      <dsp:txXfrm>
        <a:off x="6525240" y="2859967"/>
        <a:ext cx="1569997" cy="919122"/>
      </dsp:txXfrm>
    </dsp:sp>
    <dsp:sp modelId="{4C1C5001-3368-49F5-B662-0F2C7F7A55E2}">
      <dsp:nvSpPr>
        <dsp:cNvPr id="0" name=""/>
        <dsp:cNvSpPr/>
      </dsp:nvSpPr>
      <dsp:spPr>
        <a:xfrm>
          <a:off x="6496645" y="1610981"/>
          <a:ext cx="1627187" cy="976312"/>
        </a:xfrm>
        <a:prstGeom prst="roundRect">
          <a:avLst>
            <a:gd name="adj" fmla="val 10000"/>
          </a:avLst>
        </a:prstGeom>
        <a:solidFill>
          <a:schemeClr val="accent3">
            <a:shade val="50000"/>
            <a:hueOff val="-71625"/>
            <a:satOff val="-10123"/>
            <a:lumOff val="82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pl-PL" sz="1100" kern="1200"/>
            <a:t>Good scalibility</a:t>
          </a:r>
          <a:endParaRPr lang="de-DE" sz="1100" kern="1200" dirty="0"/>
        </a:p>
      </dsp:txBody>
      <dsp:txXfrm>
        <a:off x="6525240" y="1639576"/>
        <a:ext cx="1569997" cy="91912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F1806B-55D5-440E-A34F-E260A5CFDE52}">
      <dsp:nvSpPr>
        <dsp:cNvPr id="0" name=""/>
        <dsp:cNvSpPr/>
      </dsp:nvSpPr>
      <dsp:spPr>
        <a:xfrm>
          <a:off x="967376" y="738472"/>
          <a:ext cx="1801693" cy="120172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Font typeface="Wingdings" panose="05000000000000000000" pitchFamily="2" charset="2"/>
            <a:buNone/>
          </a:pPr>
          <a:r>
            <a:rPr lang="pl-PL" sz="1000" kern="1200" dirty="0"/>
            <a:t>Hosted on equipment owned by private organization within data centers belonging to the company</a:t>
          </a:r>
          <a:endParaRPr lang="de-DE" sz="1000" kern="1200" dirty="0"/>
        </a:p>
      </dsp:txBody>
      <dsp:txXfrm>
        <a:off x="1255647" y="738472"/>
        <a:ext cx="1513422" cy="1201729"/>
      </dsp:txXfrm>
    </dsp:sp>
    <dsp:sp modelId="{41A7438B-5C03-43CD-B983-FB27730FFDFA}">
      <dsp:nvSpPr>
        <dsp:cNvPr id="0" name=""/>
        <dsp:cNvSpPr/>
      </dsp:nvSpPr>
      <dsp:spPr>
        <a:xfrm>
          <a:off x="967376" y="1940202"/>
          <a:ext cx="1801693" cy="1201729"/>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Font typeface="Wingdings" panose="05000000000000000000" pitchFamily="2" charset="2"/>
            <a:buNone/>
          </a:pPr>
          <a:r>
            <a:rPr lang="pl-PL" sz="1000" kern="1200" dirty="0"/>
            <a:t>Delivered over a network</a:t>
          </a:r>
        </a:p>
      </dsp:txBody>
      <dsp:txXfrm>
        <a:off x="1255647" y="1940202"/>
        <a:ext cx="1513422" cy="1201729"/>
      </dsp:txXfrm>
    </dsp:sp>
    <dsp:sp modelId="{81088BE2-5DD8-4E49-A58B-B376DD97CFA7}">
      <dsp:nvSpPr>
        <dsp:cNvPr id="0" name=""/>
        <dsp:cNvSpPr/>
      </dsp:nvSpPr>
      <dsp:spPr>
        <a:xfrm>
          <a:off x="967376" y="3141932"/>
          <a:ext cx="1801693" cy="120172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Font typeface="Wingdings" panose="05000000000000000000" pitchFamily="2" charset="2"/>
            <a:buNone/>
          </a:pPr>
          <a:r>
            <a:rPr lang="pl-PL" sz="1000" kern="1200" dirty="0"/>
            <a:t>Available only to users within the organization</a:t>
          </a:r>
          <a:endParaRPr lang="de-DE" sz="1000" kern="1200" dirty="0"/>
        </a:p>
      </dsp:txBody>
      <dsp:txXfrm>
        <a:off x="1255647" y="3141932"/>
        <a:ext cx="1513422" cy="1201729"/>
      </dsp:txXfrm>
    </dsp:sp>
    <dsp:sp modelId="{50547CC0-375A-4433-B330-1561BF07B600}">
      <dsp:nvSpPr>
        <dsp:cNvPr id="0" name=""/>
        <dsp:cNvSpPr/>
      </dsp:nvSpPr>
      <dsp:spPr>
        <a:xfrm>
          <a:off x="6473" y="258021"/>
          <a:ext cx="1201129" cy="1201129"/>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pl-PL" sz="1000" b="1" kern="1200" dirty="0"/>
            <a:t>IT services </a:t>
          </a:r>
          <a:endParaRPr lang="de-DE" sz="1000" b="1" kern="1200" dirty="0"/>
        </a:p>
      </dsp:txBody>
      <dsp:txXfrm>
        <a:off x="182374" y="433922"/>
        <a:ext cx="849327" cy="849327"/>
      </dsp:txXfrm>
    </dsp:sp>
    <dsp:sp modelId="{1FAB8347-3239-4D55-983C-CC5B2FBF5566}">
      <dsp:nvSpPr>
        <dsp:cNvPr id="0" name=""/>
        <dsp:cNvSpPr/>
      </dsp:nvSpPr>
      <dsp:spPr>
        <a:xfrm>
          <a:off x="3970199" y="738472"/>
          <a:ext cx="1801693" cy="1201729"/>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Font typeface="Wingdings" panose="05000000000000000000" pitchFamily="2" charset="2"/>
            <a:buNone/>
          </a:pPr>
          <a:r>
            <a:rPr lang="pl-PL" sz="1000" kern="1200"/>
            <a:t>Hardware</a:t>
          </a:r>
          <a:endParaRPr lang="de-DE" sz="1000" kern="1200" dirty="0"/>
        </a:p>
      </dsp:txBody>
      <dsp:txXfrm>
        <a:off x="4258470" y="738472"/>
        <a:ext cx="1513422" cy="1201729"/>
      </dsp:txXfrm>
    </dsp:sp>
    <dsp:sp modelId="{96ED6911-B6E4-46D5-A38E-5D183FCDF129}">
      <dsp:nvSpPr>
        <dsp:cNvPr id="0" name=""/>
        <dsp:cNvSpPr/>
      </dsp:nvSpPr>
      <dsp:spPr>
        <a:xfrm>
          <a:off x="3970199" y="1940202"/>
          <a:ext cx="1801693" cy="1201729"/>
        </a:xfrm>
        <a:prstGeom prst="rect">
          <a:avLst/>
        </a:prstGeom>
        <a:solidFill>
          <a:schemeClr val="accent6">
            <a:tint val="40000"/>
            <a:alpha val="90000"/>
            <a:hueOff val="0"/>
            <a:satOff val="0"/>
            <a:lumOff val="0"/>
            <a:alphaOff val="0"/>
          </a:schemeClr>
        </a:solidFill>
        <a:ln w="12700" cap="flat" cmpd="sng" algn="ctr">
          <a:solidFill>
            <a:schemeClr val="accent6">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None/>
          </a:pPr>
          <a:r>
            <a:rPr lang="pl-PL" sz="1000" kern="1200"/>
            <a:t>Software</a:t>
          </a:r>
          <a:endParaRPr lang="pl-PL" sz="1000" kern="1200" dirty="0"/>
        </a:p>
      </dsp:txBody>
      <dsp:txXfrm>
        <a:off x="4258470" y="1940202"/>
        <a:ext cx="1513422" cy="1201729"/>
      </dsp:txXfrm>
    </dsp:sp>
    <dsp:sp modelId="{638F5FE4-1100-45CF-B15B-40E3AA9A6C49}">
      <dsp:nvSpPr>
        <dsp:cNvPr id="0" name=""/>
        <dsp:cNvSpPr/>
      </dsp:nvSpPr>
      <dsp:spPr>
        <a:xfrm>
          <a:off x="3970199" y="3141932"/>
          <a:ext cx="1801693" cy="120172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None/>
          </a:pPr>
          <a:r>
            <a:rPr lang="pl-PL" sz="1000" kern="1200" dirty="0"/>
            <a:t>Licenses</a:t>
          </a:r>
        </a:p>
      </dsp:txBody>
      <dsp:txXfrm>
        <a:off x="4258470" y="3141932"/>
        <a:ext cx="1513422" cy="1201729"/>
      </dsp:txXfrm>
    </dsp:sp>
    <dsp:sp modelId="{6EB3D470-7F7B-4B23-8DC3-460B3872A570}">
      <dsp:nvSpPr>
        <dsp:cNvPr id="0" name=""/>
        <dsp:cNvSpPr/>
      </dsp:nvSpPr>
      <dsp:spPr>
        <a:xfrm>
          <a:off x="3970199" y="4343662"/>
          <a:ext cx="1801693" cy="1201729"/>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None/>
          </a:pPr>
          <a:r>
            <a:rPr lang="pl-PL" sz="1000" kern="1200"/>
            <a:t>Installation, configuration, patching, troubleshooting</a:t>
          </a:r>
          <a:endParaRPr lang="pl-PL" sz="1000" kern="1200" dirty="0"/>
        </a:p>
      </dsp:txBody>
      <dsp:txXfrm>
        <a:off x="4258470" y="4343662"/>
        <a:ext cx="1513422" cy="1201729"/>
      </dsp:txXfrm>
    </dsp:sp>
    <dsp:sp modelId="{551F601C-CC70-4CE1-8F44-B93641155479}">
      <dsp:nvSpPr>
        <dsp:cNvPr id="0" name=""/>
        <dsp:cNvSpPr/>
      </dsp:nvSpPr>
      <dsp:spPr>
        <a:xfrm>
          <a:off x="3009296" y="258021"/>
          <a:ext cx="1201129" cy="1201129"/>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pl-PL" sz="1000" b="1" kern="1200" dirty="0"/>
            <a:t>Responsi-bilities</a:t>
          </a:r>
          <a:endParaRPr lang="de-DE" sz="1000" b="1" kern="1200" dirty="0"/>
        </a:p>
      </dsp:txBody>
      <dsp:txXfrm>
        <a:off x="3185197" y="433922"/>
        <a:ext cx="849327" cy="849327"/>
      </dsp:txXfrm>
    </dsp:sp>
    <dsp:sp modelId="{CAF4F3E0-35CA-4329-8E30-62D60E615851}">
      <dsp:nvSpPr>
        <dsp:cNvPr id="0" name=""/>
        <dsp:cNvSpPr/>
      </dsp:nvSpPr>
      <dsp:spPr>
        <a:xfrm>
          <a:off x="6973022" y="738472"/>
          <a:ext cx="1801693" cy="120172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Font typeface="Wingdings" panose="05000000000000000000" pitchFamily="2" charset="2"/>
            <a:buNone/>
          </a:pPr>
          <a:r>
            <a:rPr lang="pl-PL" sz="1000" kern="1200"/>
            <a:t>Data</a:t>
          </a:r>
          <a:endParaRPr lang="de-DE" sz="1000" kern="1200" dirty="0"/>
        </a:p>
      </dsp:txBody>
      <dsp:txXfrm>
        <a:off x="7261293" y="738472"/>
        <a:ext cx="1513422" cy="1201729"/>
      </dsp:txXfrm>
    </dsp:sp>
    <dsp:sp modelId="{5326B08F-937F-43D4-8B91-02C5AB882737}">
      <dsp:nvSpPr>
        <dsp:cNvPr id="0" name=""/>
        <dsp:cNvSpPr/>
      </dsp:nvSpPr>
      <dsp:spPr>
        <a:xfrm>
          <a:off x="6973022" y="1940202"/>
          <a:ext cx="1801693" cy="1201729"/>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None/>
          </a:pPr>
          <a:r>
            <a:rPr lang="pl-PL" sz="1000" kern="1200"/>
            <a:t>Regulatory compliance</a:t>
          </a:r>
          <a:endParaRPr lang="pl-PL" sz="1000" kern="1200" dirty="0"/>
        </a:p>
      </dsp:txBody>
      <dsp:txXfrm>
        <a:off x="7261293" y="1940202"/>
        <a:ext cx="1513422" cy="1201729"/>
      </dsp:txXfrm>
    </dsp:sp>
    <dsp:sp modelId="{73E09C06-8C9D-4082-AAD3-77A87A2D850C}">
      <dsp:nvSpPr>
        <dsp:cNvPr id="0" name=""/>
        <dsp:cNvSpPr/>
      </dsp:nvSpPr>
      <dsp:spPr>
        <a:xfrm>
          <a:off x="6973022" y="3141932"/>
          <a:ext cx="1801693" cy="1201729"/>
        </a:xfrm>
        <a:prstGeom prst="rect">
          <a:avLst/>
        </a:prstGeom>
        <a:solidFill>
          <a:schemeClr val="accent6">
            <a:tint val="40000"/>
            <a:alpha val="90000"/>
            <a:hueOff val="0"/>
            <a:satOff val="0"/>
            <a:lumOff val="0"/>
            <a:alphaOff val="0"/>
          </a:schemeClr>
        </a:solidFill>
        <a:ln w="12700" cap="flat" cmpd="sng" algn="ctr">
          <a:solidFill>
            <a:schemeClr val="accent6">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None/>
          </a:pPr>
          <a:r>
            <a:rPr lang="pl-PL" sz="1000" kern="1200" dirty="0"/>
            <a:t>Fault tolerance</a:t>
          </a:r>
        </a:p>
      </dsp:txBody>
      <dsp:txXfrm>
        <a:off x="7261293" y="3141932"/>
        <a:ext cx="1513422" cy="1201729"/>
      </dsp:txXfrm>
    </dsp:sp>
    <dsp:sp modelId="{17D17156-C521-4A03-8D6F-38FDBB8914C8}">
      <dsp:nvSpPr>
        <dsp:cNvPr id="0" name=""/>
        <dsp:cNvSpPr/>
      </dsp:nvSpPr>
      <dsp:spPr>
        <a:xfrm>
          <a:off x="6973022" y="4343662"/>
          <a:ext cx="1801693" cy="120172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None/>
          </a:pPr>
          <a:r>
            <a:rPr lang="pl-PL" sz="1000" kern="1200" dirty="0"/>
            <a:t>Security and performance</a:t>
          </a:r>
        </a:p>
      </dsp:txBody>
      <dsp:txXfrm>
        <a:off x="7261293" y="4343662"/>
        <a:ext cx="1513422" cy="1201729"/>
      </dsp:txXfrm>
    </dsp:sp>
    <dsp:sp modelId="{D02170E7-1BA5-43D6-BE64-9CE22218352A}">
      <dsp:nvSpPr>
        <dsp:cNvPr id="0" name=""/>
        <dsp:cNvSpPr/>
      </dsp:nvSpPr>
      <dsp:spPr>
        <a:xfrm>
          <a:off x="6012119" y="258021"/>
          <a:ext cx="1201129" cy="1201129"/>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pl-PL" sz="1000" b="1" kern="1200" dirty="0"/>
            <a:t>Full control</a:t>
          </a:r>
          <a:endParaRPr lang="de-DE" sz="1000" b="1" kern="1200" dirty="0"/>
        </a:p>
      </dsp:txBody>
      <dsp:txXfrm>
        <a:off x="6188020" y="433922"/>
        <a:ext cx="849327" cy="849327"/>
      </dsp:txXfrm>
    </dsp:sp>
    <dsp:sp modelId="{49E79121-23E0-4A05-BE30-BF53F8DB9B07}">
      <dsp:nvSpPr>
        <dsp:cNvPr id="0" name=""/>
        <dsp:cNvSpPr/>
      </dsp:nvSpPr>
      <dsp:spPr>
        <a:xfrm>
          <a:off x="9975845" y="738472"/>
          <a:ext cx="1801693" cy="1201729"/>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71120" rIns="71120" bIns="71120" numCol="1" spcCol="1270" anchor="ctr" anchorCtr="0">
          <a:noAutofit/>
        </a:bodyPr>
        <a:lstStyle/>
        <a:p>
          <a:pPr marL="0" lvl="0" indent="0" algn="l" defTabSz="444500">
            <a:lnSpc>
              <a:spcPct val="90000"/>
            </a:lnSpc>
            <a:spcBef>
              <a:spcPct val="0"/>
            </a:spcBef>
            <a:spcAft>
              <a:spcPct val="35000"/>
            </a:spcAft>
            <a:buNone/>
          </a:pPr>
          <a:r>
            <a:rPr lang="pl-PL" sz="1000" kern="1200" dirty="0"/>
            <a:t>Doas not scale as good as public cloud</a:t>
          </a:r>
          <a:endParaRPr lang="de-DE" sz="1000" kern="1200" dirty="0"/>
        </a:p>
      </dsp:txBody>
      <dsp:txXfrm>
        <a:off x="10264116" y="738472"/>
        <a:ext cx="1513422" cy="1201729"/>
      </dsp:txXfrm>
    </dsp:sp>
    <dsp:sp modelId="{69400345-7B1C-41B9-91AD-32745F0FB337}">
      <dsp:nvSpPr>
        <dsp:cNvPr id="0" name=""/>
        <dsp:cNvSpPr/>
      </dsp:nvSpPr>
      <dsp:spPr>
        <a:xfrm>
          <a:off x="9014942" y="258021"/>
          <a:ext cx="1201129" cy="1201129"/>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pl-PL" sz="1000" b="1" kern="1200" dirty="0">
              <a:solidFill>
                <a:prstClr val="white"/>
              </a:solidFill>
              <a:latin typeface="Verdana"/>
              <a:ea typeface="+mn-ea"/>
              <a:cs typeface="+mn-cs"/>
            </a:rPr>
            <a:t>Scaling</a:t>
          </a:r>
        </a:p>
      </dsp:txBody>
      <dsp:txXfrm>
        <a:off x="9190843" y="433922"/>
        <a:ext cx="849327" cy="84932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B611F3-F744-47E6-8C53-3235FF6AD37D}">
      <dsp:nvSpPr>
        <dsp:cNvPr id="0" name=""/>
        <dsp:cNvSpPr/>
      </dsp:nvSpPr>
      <dsp:spPr>
        <a:xfrm>
          <a:off x="6524" y="2855131"/>
          <a:ext cx="7101868" cy="25611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pl-PL" sz="1800" kern="1200" dirty="0"/>
            <a:t>Combines public and private cloud</a:t>
          </a:r>
          <a:endParaRPr lang="de-DE" sz="1800" kern="1200" dirty="0"/>
        </a:p>
      </dsp:txBody>
      <dsp:txXfrm>
        <a:off x="81538" y="2930145"/>
        <a:ext cx="6951840" cy="2411138"/>
      </dsp:txXfrm>
    </dsp:sp>
    <dsp:sp modelId="{A6986AF3-A6DE-48FB-A6C7-70FF7CB1F84D}">
      <dsp:nvSpPr>
        <dsp:cNvPr id="0" name=""/>
        <dsp:cNvSpPr/>
      </dsp:nvSpPr>
      <dsp:spPr>
        <a:xfrm>
          <a:off x="6524" y="2368"/>
          <a:ext cx="1670241" cy="2561166"/>
        </a:xfrm>
        <a:prstGeom prst="roundRect">
          <a:avLst>
            <a:gd name="adj" fmla="val 10000"/>
          </a:avLst>
        </a:prstGeom>
        <a:gradFill rotWithShape="0">
          <a:gsLst>
            <a:gs pos="0">
              <a:schemeClr val="accent1">
                <a:tint val="99000"/>
                <a:hueOff val="0"/>
                <a:satOff val="0"/>
                <a:lumOff val="0"/>
                <a:alphaOff val="0"/>
                <a:satMod val="103000"/>
                <a:lumMod val="102000"/>
                <a:tint val="94000"/>
              </a:schemeClr>
            </a:gs>
            <a:gs pos="50000">
              <a:schemeClr val="accent1">
                <a:tint val="99000"/>
                <a:hueOff val="0"/>
                <a:satOff val="0"/>
                <a:lumOff val="0"/>
                <a:alphaOff val="0"/>
                <a:satMod val="110000"/>
                <a:lumMod val="100000"/>
                <a:shade val="100000"/>
              </a:schemeClr>
            </a:gs>
            <a:gs pos="100000">
              <a:schemeClr val="accent1">
                <a:tint val="99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pl-PL" sz="1600" kern="1200" dirty="0"/>
            <a:t>Integrates on-premises IT services with cloud provider</a:t>
          </a:r>
          <a:endParaRPr lang="de-DE" sz="1600" kern="1200" dirty="0"/>
        </a:p>
      </dsp:txBody>
      <dsp:txXfrm>
        <a:off x="55444" y="51288"/>
        <a:ext cx="1572401" cy="2463326"/>
      </dsp:txXfrm>
    </dsp:sp>
    <dsp:sp modelId="{95D471CF-C845-4A15-9E39-D4E7203F057F}">
      <dsp:nvSpPr>
        <dsp:cNvPr id="0" name=""/>
        <dsp:cNvSpPr/>
      </dsp:nvSpPr>
      <dsp:spPr>
        <a:xfrm>
          <a:off x="1817067" y="2368"/>
          <a:ext cx="1670241" cy="2561166"/>
        </a:xfrm>
        <a:prstGeom prst="roundRect">
          <a:avLst>
            <a:gd name="adj" fmla="val 10000"/>
          </a:avLst>
        </a:prstGeom>
        <a:gradFill rotWithShape="0">
          <a:gsLst>
            <a:gs pos="0">
              <a:schemeClr val="accent1">
                <a:tint val="99000"/>
                <a:hueOff val="0"/>
                <a:satOff val="0"/>
                <a:lumOff val="0"/>
                <a:alphaOff val="0"/>
                <a:satMod val="103000"/>
                <a:lumMod val="102000"/>
                <a:tint val="94000"/>
              </a:schemeClr>
            </a:gs>
            <a:gs pos="50000">
              <a:schemeClr val="accent1">
                <a:tint val="99000"/>
                <a:hueOff val="0"/>
                <a:satOff val="0"/>
                <a:lumOff val="0"/>
                <a:alphaOff val="0"/>
                <a:satMod val="110000"/>
                <a:lumMod val="100000"/>
                <a:shade val="100000"/>
              </a:schemeClr>
            </a:gs>
            <a:gs pos="100000">
              <a:schemeClr val="accent1">
                <a:tint val="99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pl-PL" sz="1600" kern="1200" dirty="0"/>
            <a:t>Could be used as interim solution before moving to a public cloud</a:t>
          </a:r>
          <a:endParaRPr lang="de-DE" sz="1600" kern="1200" dirty="0"/>
        </a:p>
      </dsp:txBody>
      <dsp:txXfrm>
        <a:off x="1865987" y="51288"/>
        <a:ext cx="1572401" cy="2463326"/>
      </dsp:txXfrm>
    </dsp:sp>
    <dsp:sp modelId="{A5B8D06B-C5BA-414D-990D-89722ED69F83}">
      <dsp:nvSpPr>
        <dsp:cNvPr id="0" name=""/>
        <dsp:cNvSpPr/>
      </dsp:nvSpPr>
      <dsp:spPr>
        <a:xfrm>
          <a:off x="3627609" y="2368"/>
          <a:ext cx="1670241" cy="2561166"/>
        </a:xfrm>
        <a:prstGeom prst="roundRect">
          <a:avLst>
            <a:gd name="adj" fmla="val 10000"/>
          </a:avLst>
        </a:prstGeom>
        <a:gradFill rotWithShape="0">
          <a:gsLst>
            <a:gs pos="0">
              <a:schemeClr val="accent1">
                <a:tint val="99000"/>
                <a:hueOff val="0"/>
                <a:satOff val="0"/>
                <a:lumOff val="0"/>
                <a:alphaOff val="0"/>
                <a:satMod val="103000"/>
                <a:lumMod val="102000"/>
                <a:tint val="94000"/>
              </a:schemeClr>
            </a:gs>
            <a:gs pos="50000">
              <a:schemeClr val="accent1">
                <a:tint val="99000"/>
                <a:hueOff val="0"/>
                <a:satOff val="0"/>
                <a:lumOff val="0"/>
                <a:alphaOff val="0"/>
                <a:satMod val="110000"/>
                <a:lumMod val="100000"/>
                <a:shade val="100000"/>
              </a:schemeClr>
            </a:gs>
            <a:gs pos="100000">
              <a:schemeClr val="accent1">
                <a:tint val="99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pl-PL" sz="1600" kern="1200" dirty="0"/>
            <a:t>This approach allows the advantage of data security in private cloud and the scalibility of public cloud</a:t>
          </a:r>
        </a:p>
      </dsp:txBody>
      <dsp:txXfrm>
        <a:off x="3676529" y="51288"/>
        <a:ext cx="1572401" cy="2463326"/>
      </dsp:txXfrm>
    </dsp:sp>
    <dsp:sp modelId="{048FF0AD-AC85-4B38-B18C-D0D0E95BA0FC}">
      <dsp:nvSpPr>
        <dsp:cNvPr id="0" name=""/>
        <dsp:cNvSpPr/>
      </dsp:nvSpPr>
      <dsp:spPr>
        <a:xfrm>
          <a:off x="5438151" y="2368"/>
          <a:ext cx="1670241" cy="2561166"/>
        </a:xfrm>
        <a:prstGeom prst="roundRect">
          <a:avLst>
            <a:gd name="adj" fmla="val 10000"/>
          </a:avLst>
        </a:prstGeom>
        <a:gradFill rotWithShape="0">
          <a:gsLst>
            <a:gs pos="0">
              <a:schemeClr val="accent1">
                <a:tint val="99000"/>
                <a:hueOff val="0"/>
                <a:satOff val="0"/>
                <a:lumOff val="0"/>
                <a:alphaOff val="0"/>
                <a:satMod val="103000"/>
                <a:lumMod val="102000"/>
                <a:tint val="94000"/>
              </a:schemeClr>
            </a:gs>
            <a:gs pos="50000">
              <a:schemeClr val="accent1">
                <a:tint val="99000"/>
                <a:hueOff val="0"/>
                <a:satOff val="0"/>
                <a:lumOff val="0"/>
                <a:alphaOff val="0"/>
                <a:satMod val="110000"/>
                <a:lumMod val="100000"/>
                <a:shade val="100000"/>
              </a:schemeClr>
            </a:gs>
            <a:gs pos="100000">
              <a:schemeClr val="accent1">
                <a:tint val="99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pl-PL" sz="1600" kern="1200" dirty="0"/>
            <a:t>Flexibility – the option to utilize resources from the private and public cloud</a:t>
          </a:r>
        </a:p>
      </dsp:txBody>
      <dsp:txXfrm>
        <a:off x="5487071" y="51288"/>
        <a:ext cx="1572401" cy="2463326"/>
      </dsp:txXfrm>
    </dsp:sp>
    <dsp:sp modelId="{8EAB00A8-CEC1-4EE3-A1C3-4E2A15C021BF}">
      <dsp:nvSpPr>
        <dsp:cNvPr id="0" name=""/>
        <dsp:cNvSpPr/>
      </dsp:nvSpPr>
      <dsp:spPr>
        <a:xfrm>
          <a:off x="7388993" y="2855131"/>
          <a:ext cx="1670241" cy="25611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pl-PL" sz="1800" kern="1200"/>
            <a:t>Control over spending - uses the cloud which offers cheaper resources</a:t>
          </a:r>
          <a:endParaRPr lang="pl-PL" sz="1800" kern="1200" dirty="0"/>
        </a:p>
      </dsp:txBody>
      <dsp:txXfrm>
        <a:off x="7437913" y="2904051"/>
        <a:ext cx="1572401" cy="2463326"/>
      </dsp:txXfrm>
    </dsp:sp>
    <dsp:sp modelId="{629BBBE9-B88D-4397-8B15-1F9C411E28A0}">
      <dsp:nvSpPr>
        <dsp:cNvPr id="0" name=""/>
        <dsp:cNvSpPr/>
      </dsp:nvSpPr>
      <dsp:spPr>
        <a:xfrm>
          <a:off x="9339836" y="2855131"/>
          <a:ext cx="1670241" cy="25611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pl-PL" sz="1800" kern="1200"/>
            <a:t>Deployment – a combination of strong sides ot the private and public cloud</a:t>
          </a:r>
          <a:endParaRPr lang="de-DE" sz="1800" kern="1200" dirty="0"/>
        </a:p>
      </dsp:txBody>
      <dsp:txXfrm>
        <a:off x="9388756" y="2904051"/>
        <a:ext cx="1572401" cy="246332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6B0E73-ED78-46E7-BCCE-77EE6334951F}">
      <dsp:nvSpPr>
        <dsp:cNvPr id="0" name=""/>
        <dsp:cNvSpPr/>
      </dsp:nvSpPr>
      <dsp:spPr>
        <a:xfrm>
          <a:off x="3230496" y="1796159"/>
          <a:ext cx="2282996" cy="1974884"/>
        </a:xfrm>
        <a:prstGeom prst="hexagon">
          <a:avLst>
            <a:gd name="adj" fmla="val 28570"/>
            <a:gd name="vf" fmla="val 11547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pl-PL" sz="2000" kern="1200" dirty="0"/>
            <a:t>Community cloud</a:t>
          </a:r>
          <a:endParaRPr lang="de-DE" sz="2000" kern="1200" dirty="0"/>
        </a:p>
      </dsp:txBody>
      <dsp:txXfrm>
        <a:off x="3608820" y="2123425"/>
        <a:ext cx="1526348" cy="1320352"/>
      </dsp:txXfrm>
    </dsp:sp>
    <dsp:sp modelId="{56C90C39-9419-49AF-9116-C9CDE81639DE}">
      <dsp:nvSpPr>
        <dsp:cNvPr id="0" name=""/>
        <dsp:cNvSpPr/>
      </dsp:nvSpPr>
      <dsp:spPr>
        <a:xfrm>
          <a:off x="4660090" y="851310"/>
          <a:ext cx="861367" cy="742182"/>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4512E9C3-0B6B-4353-845F-DBDA4FF1C6AA}">
      <dsp:nvSpPr>
        <dsp:cNvPr id="0" name=""/>
        <dsp:cNvSpPr/>
      </dsp:nvSpPr>
      <dsp:spPr>
        <a:xfrm>
          <a:off x="3440793" y="0"/>
          <a:ext cx="1870899" cy="1618547"/>
        </a:xfrm>
        <a:prstGeom prst="hexagon">
          <a:avLst>
            <a:gd name="adj" fmla="val 28570"/>
            <a:gd name="vf" fmla="val 11547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Font typeface="Arial" panose="020B0604020202020204" pitchFamily="34" charset="0"/>
            <a:buNone/>
          </a:pPr>
          <a:r>
            <a:rPr lang="pl-PL" sz="1000" kern="1200" dirty="0"/>
            <a:t>Pools computing resources to serve organizations with common needs</a:t>
          </a:r>
          <a:endParaRPr lang="de-DE" sz="1000" kern="1200" dirty="0"/>
        </a:p>
      </dsp:txBody>
      <dsp:txXfrm>
        <a:off x="3750841" y="268228"/>
        <a:ext cx="1250803" cy="1082091"/>
      </dsp:txXfrm>
    </dsp:sp>
    <dsp:sp modelId="{B315D702-4BE6-4DF2-BEE3-D2798E72A296}">
      <dsp:nvSpPr>
        <dsp:cNvPr id="0" name=""/>
        <dsp:cNvSpPr/>
      </dsp:nvSpPr>
      <dsp:spPr>
        <a:xfrm>
          <a:off x="5665373" y="2238795"/>
          <a:ext cx="861367" cy="742182"/>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C51A215C-513E-46E9-B46C-E7C6ED706E1E}">
      <dsp:nvSpPr>
        <dsp:cNvPr id="0" name=""/>
        <dsp:cNvSpPr/>
      </dsp:nvSpPr>
      <dsp:spPr>
        <a:xfrm>
          <a:off x="5156625" y="995515"/>
          <a:ext cx="1870899" cy="1618547"/>
        </a:xfrm>
        <a:prstGeom prst="hexagon">
          <a:avLst>
            <a:gd name="adj" fmla="val 28570"/>
            <a:gd name="vf" fmla="val 115470"/>
          </a:avLst>
        </a:prstGeom>
        <a:gradFill rotWithShape="0">
          <a:gsLst>
            <a:gs pos="0">
              <a:schemeClr val="accent5">
                <a:hueOff val="1468668"/>
                <a:satOff val="-24"/>
                <a:lumOff val="-3970"/>
                <a:alphaOff val="0"/>
                <a:satMod val="103000"/>
                <a:lumMod val="102000"/>
                <a:tint val="94000"/>
              </a:schemeClr>
            </a:gs>
            <a:gs pos="50000">
              <a:schemeClr val="accent5">
                <a:hueOff val="1468668"/>
                <a:satOff val="-24"/>
                <a:lumOff val="-3970"/>
                <a:alphaOff val="0"/>
                <a:satMod val="110000"/>
                <a:lumMod val="100000"/>
                <a:shade val="100000"/>
              </a:schemeClr>
            </a:gs>
            <a:gs pos="100000">
              <a:schemeClr val="accent5">
                <a:hueOff val="1468668"/>
                <a:satOff val="-24"/>
                <a:lumOff val="-397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a:t>Regulatory comliance</a:t>
          </a:r>
          <a:endParaRPr lang="pl-PL" sz="1000" kern="1200" dirty="0"/>
        </a:p>
      </dsp:txBody>
      <dsp:txXfrm>
        <a:off x="5466673" y="1263743"/>
        <a:ext cx="1250803" cy="1082091"/>
      </dsp:txXfrm>
    </dsp:sp>
    <dsp:sp modelId="{D839BC50-475C-4C29-96A1-7B4CDDFD79DA}">
      <dsp:nvSpPr>
        <dsp:cNvPr id="0" name=""/>
        <dsp:cNvSpPr/>
      </dsp:nvSpPr>
      <dsp:spPr>
        <a:xfrm>
          <a:off x="4967039" y="3805006"/>
          <a:ext cx="861367" cy="742182"/>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0E09384-577C-4DA9-AF73-E7E2D911AB41}">
      <dsp:nvSpPr>
        <dsp:cNvPr id="0" name=""/>
        <dsp:cNvSpPr/>
      </dsp:nvSpPr>
      <dsp:spPr>
        <a:xfrm>
          <a:off x="5156625" y="2952582"/>
          <a:ext cx="1870899" cy="1618547"/>
        </a:xfrm>
        <a:prstGeom prst="hexagon">
          <a:avLst>
            <a:gd name="adj" fmla="val 28570"/>
            <a:gd name="vf" fmla="val 115470"/>
          </a:avLst>
        </a:prstGeom>
        <a:gradFill rotWithShape="0">
          <a:gsLst>
            <a:gs pos="0">
              <a:schemeClr val="accent5">
                <a:hueOff val="2937337"/>
                <a:satOff val="-48"/>
                <a:lumOff val="-7940"/>
                <a:alphaOff val="0"/>
                <a:satMod val="103000"/>
                <a:lumMod val="102000"/>
                <a:tint val="94000"/>
              </a:schemeClr>
            </a:gs>
            <a:gs pos="50000">
              <a:schemeClr val="accent5">
                <a:hueOff val="2937337"/>
                <a:satOff val="-48"/>
                <a:lumOff val="-7940"/>
                <a:alphaOff val="0"/>
                <a:satMod val="110000"/>
                <a:lumMod val="100000"/>
                <a:shade val="100000"/>
              </a:schemeClr>
            </a:gs>
            <a:gs pos="100000">
              <a:schemeClr val="accent5">
                <a:hueOff val="2937337"/>
                <a:satOff val="-48"/>
                <a:lumOff val="-794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a:t>Fast access to an application/data</a:t>
          </a:r>
          <a:endParaRPr lang="pl-PL" sz="1000" kern="1200" dirty="0"/>
        </a:p>
      </dsp:txBody>
      <dsp:txXfrm>
        <a:off x="5466673" y="3220810"/>
        <a:ext cx="1250803" cy="1082091"/>
      </dsp:txXfrm>
    </dsp:sp>
    <dsp:sp modelId="{26999590-9352-43A8-BB63-376CE48F5048}">
      <dsp:nvSpPr>
        <dsp:cNvPr id="0" name=""/>
        <dsp:cNvSpPr/>
      </dsp:nvSpPr>
      <dsp:spPr>
        <a:xfrm>
          <a:off x="3234744" y="3967585"/>
          <a:ext cx="861367" cy="742182"/>
        </a:xfrm>
        <a:prstGeom prst="hexagon">
          <a:avLst>
            <a:gd name="adj" fmla="val 28900"/>
            <a:gd name="vf" fmla="val 11547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29AC5728-85B9-493D-BEA0-C123A14CABFD}">
      <dsp:nvSpPr>
        <dsp:cNvPr id="0" name=""/>
        <dsp:cNvSpPr/>
      </dsp:nvSpPr>
      <dsp:spPr>
        <a:xfrm>
          <a:off x="3440793" y="3949211"/>
          <a:ext cx="1870899" cy="1618547"/>
        </a:xfrm>
        <a:prstGeom prst="hexagon">
          <a:avLst>
            <a:gd name="adj" fmla="val 28570"/>
            <a:gd name="vf" fmla="val 115470"/>
          </a:avLst>
        </a:prstGeom>
        <a:gradFill rotWithShape="0">
          <a:gsLst>
            <a:gs pos="0">
              <a:schemeClr val="accent5">
                <a:hueOff val="4406006"/>
                <a:satOff val="-72"/>
                <a:lumOff val="-11910"/>
                <a:alphaOff val="0"/>
                <a:satMod val="103000"/>
                <a:lumMod val="102000"/>
                <a:tint val="94000"/>
              </a:schemeClr>
            </a:gs>
            <a:gs pos="50000">
              <a:schemeClr val="accent5">
                <a:hueOff val="4406006"/>
                <a:satOff val="-72"/>
                <a:lumOff val="-11910"/>
                <a:alphaOff val="0"/>
                <a:satMod val="110000"/>
                <a:lumMod val="100000"/>
                <a:shade val="100000"/>
              </a:schemeClr>
            </a:gs>
            <a:gs pos="100000">
              <a:schemeClr val="accent5">
                <a:hueOff val="4406006"/>
                <a:satOff val="-72"/>
                <a:lumOff val="-1191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a:t>Similar security requirements</a:t>
          </a:r>
          <a:endParaRPr lang="pl-PL" sz="1000" kern="1200" dirty="0"/>
        </a:p>
      </dsp:txBody>
      <dsp:txXfrm>
        <a:off x="3750841" y="4217439"/>
        <a:ext cx="1250803" cy="1082091"/>
      </dsp:txXfrm>
    </dsp:sp>
    <dsp:sp modelId="{7532DACC-901C-4856-A2DB-ACECFE2BF22E}">
      <dsp:nvSpPr>
        <dsp:cNvPr id="0" name=""/>
        <dsp:cNvSpPr/>
      </dsp:nvSpPr>
      <dsp:spPr>
        <a:xfrm>
          <a:off x="1716995" y="2953696"/>
          <a:ext cx="1870899" cy="1618547"/>
        </a:xfrm>
        <a:prstGeom prst="hexagon">
          <a:avLst>
            <a:gd name="adj" fmla="val 28570"/>
            <a:gd name="vf" fmla="val 115470"/>
          </a:avLst>
        </a:prstGeom>
        <a:gradFill rotWithShape="0">
          <a:gsLst>
            <a:gs pos="0">
              <a:schemeClr val="accent5">
                <a:hueOff val="5874674"/>
                <a:satOff val="-96"/>
                <a:lumOff val="-15880"/>
                <a:alphaOff val="0"/>
                <a:satMod val="103000"/>
                <a:lumMod val="102000"/>
                <a:tint val="94000"/>
              </a:schemeClr>
            </a:gs>
            <a:gs pos="50000">
              <a:schemeClr val="accent5">
                <a:hueOff val="5874674"/>
                <a:satOff val="-96"/>
                <a:lumOff val="-15880"/>
                <a:alphaOff val="0"/>
                <a:satMod val="110000"/>
                <a:lumMod val="100000"/>
                <a:shade val="100000"/>
              </a:schemeClr>
            </a:gs>
            <a:gs pos="100000">
              <a:schemeClr val="accent5">
                <a:hueOff val="5874674"/>
                <a:satOff val="-96"/>
                <a:lumOff val="-1588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dirty="0"/>
            <a:t>The examples of community cloud deployments are: Healthcare or financial services that require special regulation</a:t>
          </a:r>
          <a:endParaRPr lang="de-DE" sz="1000" kern="1200" dirty="0"/>
        </a:p>
      </dsp:txBody>
      <dsp:txXfrm>
        <a:off x="2027043" y="3221924"/>
        <a:ext cx="1250803" cy="1082091"/>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4.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7/04/2021</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7/04/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microsoft.com/office/2007/relationships/hdphoto" Target="../media/hdphoto2.wdp"/><Relationship Id="rId18" Type="http://schemas.openxmlformats.org/officeDocument/2006/relationships/image" Target="../media/image11.png"/><Relationship Id="rId3" Type="http://schemas.openxmlformats.org/officeDocument/2006/relationships/slideMaster" Target="../slideMasters/slideMaster1.xml"/><Relationship Id="rId21" Type="http://schemas.openxmlformats.org/officeDocument/2006/relationships/image" Target="../media/image12.png"/><Relationship Id="rId7" Type="http://schemas.openxmlformats.org/officeDocument/2006/relationships/image" Target="../media/image3.svg"/><Relationship Id="rId12" Type="http://schemas.openxmlformats.org/officeDocument/2006/relationships/image" Target="../media/image9.png"/><Relationship Id="rId17" Type="http://schemas.openxmlformats.org/officeDocument/2006/relationships/hyperlink" Target="http://www.youtube.com/capgeminimedia" TargetMode="External"/><Relationship Id="rId2" Type="http://schemas.openxmlformats.org/officeDocument/2006/relationships/tags" Target="../tags/tag11.xml"/><Relationship Id="rId16" Type="http://schemas.microsoft.com/office/2007/relationships/hdphoto" Target="../media/hdphoto3.wdp"/><Relationship Id="rId20" Type="http://schemas.openxmlformats.org/officeDocument/2006/relationships/hyperlink" Target="http://www.facebook.com/capgemini" TargetMode="External"/><Relationship Id="rId1" Type="http://schemas.openxmlformats.org/officeDocument/2006/relationships/vmlDrawing" Target="../drawings/vmlDrawing10.vml"/><Relationship Id="rId6" Type="http://schemas.openxmlformats.org/officeDocument/2006/relationships/image" Target="../media/image2.png"/><Relationship Id="rId11" Type="http://schemas.openxmlformats.org/officeDocument/2006/relationships/hyperlink" Target="http://www.slideshare.net/capgemini" TargetMode="External"/><Relationship Id="rId5" Type="http://schemas.openxmlformats.org/officeDocument/2006/relationships/image" Target="../media/image1.emf"/><Relationship Id="rId15" Type="http://schemas.openxmlformats.org/officeDocument/2006/relationships/image" Target="../media/image10.png"/><Relationship Id="rId10" Type="http://schemas.microsoft.com/office/2007/relationships/hdphoto" Target="../media/hdphoto1.wdp"/><Relationship Id="rId19" Type="http://schemas.microsoft.com/office/2007/relationships/hdphoto" Target="../media/hdphoto4.wdp"/><Relationship Id="rId4" Type="http://schemas.openxmlformats.org/officeDocument/2006/relationships/oleObject" Target="../embeddings/oleObject10.bin"/><Relationship Id="rId9" Type="http://schemas.openxmlformats.org/officeDocument/2006/relationships/image" Target="../media/image8.png"/><Relationship Id="rId14" Type="http://schemas.openxmlformats.org/officeDocument/2006/relationships/hyperlink" Target="http://www.twitter.com/capgemini" TargetMode="External"/><Relationship Id="rId22" Type="http://schemas.microsoft.com/office/2007/relationships/hdphoto" Target="../media/hdphoto5.wdp"/></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5.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7.png"/><Relationship Id="rId2" Type="http://schemas.openxmlformats.org/officeDocument/2006/relationships/tags" Target="../tags/tag12.xml"/><Relationship Id="rId16" Type="http://schemas.openxmlformats.org/officeDocument/2006/relationships/hyperlink" Target="http://www.facebook.com/capgemini" TargetMode="External"/><Relationship Id="rId1" Type="http://schemas.openxmlformats.org/officeDocument/2006/relationships/vmlDrawing" Target="../drawings/vmlDrawing11.vml"/><Relationship Id="rId6" Type="http://schemas.openxmlformats.org/officeDocument/2006/relationships/image" Target="../media/image2.png"/><Relationship Id="rId11" Type="http://schemas.openxmlformats.org/officeDocument/2006/relationships/image" Target="../media/image14.png"/><Relationship Id="rId5" Type="http://schemas.openxmlformats.org/officeDocument/2006/relationships/image" Target="../media/image1.emf"/><Relationship Id="rId15" Type="http://schemas.openxmlformats.org/officeDocument/2006/relationships/image" Target="../media/image16.png"/><Relationship Id="rId10" Type="http://schemas.openxmlformats.org/officeDocument/2006/relationships/hyperlink" Target="http://www.slideshare.net/capgemini" TargetMode="External"/><Relationship Id="rId4" Type="http://schemas.openxmlformats.org/officeDocument/2006/relationships/oleObject" Target="../embeddings/oleObject11.bin"/><Relationship Id="rId9" Type="http://schemas.openxmlformats.org/officeDocument/2006/relationships/image" Target="../media/image13.png"/><Relationship Id="rId14" Type="http://schemas.openxmlformats.org/officeDocument/2006/relationships/hyperlink" Target="http://www.youtube.com/capgeminimedia"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8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8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8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8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1932114"/>
            <a:ext cx="5400676"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383337" y="1932113"/>
            <a:ext cx="5400675"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383337"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6" name="Footer Placeholder 5"/>
          <p:cNvSpPr>
            <a:spLocks noGrp="1"/>
          </p:cNvSpPr>
          <p:nvPr>
            <p:ph type="ftr" sz="quarter" idx="15"/>
          </p:nvPr>
        </p:nvSpPr>
        <p:spPr/>
        <p:txBody>
          <a:bodyPr/>
          <a:lstStyle/>
          <a:p>
            <a:r>
              <a:rPr lang="en-US"/>
              <a:t>© 2018 Capgemini. All rights reserved.</a:t>
            </a:r>
            <a:endParaRPr lang="en-US" dirty="0"/>
          </a:p>
        </p:txBody>
      </p:sp>
      <p:sp>
        <p:nvSpPr>
          <p:cNvPr id="7" name="Slide Number Placeholder 6"/>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3761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37"/>
          </p:nvPr>
        </p:nvSpPr>
        <p:spPr/>
        <p:txBody>
          <a:bodyPr/>
          <a:lstStyle/>
          <a:p>
            <a:r>
              <a:rPr lang="en-US"/>
              <a:t>© 2018 Capgemini. All rights reserved.</a:t>
            </a:r>
            <a:endParaRPr lang="en-US" dirty="0"/>
          </a:p>
        </p:txBody>
      </p:sp>
      <p:sp>
        <p:nvSpPr>
          <p:cNvPr id="8" name="Slide Number Placeholder 7"/>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40959320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Blue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412875"/>
            <a:ext cx="2209800" cy="5067300"/>
          </a:xfrm>
          <a:prstGeom prst="rect">
            <a:avLst/>
          </a:prstGeom>
        </p:spPr>
      </p:pic>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661699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ft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a:t>Edit Master text styles</a:t>
            </a:r>
          </a:p>
        </p:txBody>
      </p:sp>
      <p:pic>
        <p:nvPicPr>
          <p:cNvPr id="15"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15233129">
            <a:off x="-1742256" y="2336496"/>
            <a:ext cx="4838335" cy="2808000"/>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Tree>
    <p:extLst>
      <p:ext uri="{BB962C8B-B14F-4D97-AF65-F5344CB8AC3E}">
        <p14:creationId xmlns:p14="http://schemas.microsoft.com/office/powerpoint/2010/main" val="2227332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090530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4" name="Footer Placeholder 3"/>
          <p:cNvSpPr>
            <a:spLocks noGrp="1"/>
          </p:cNvSpPr>
          <p:nvPr>
            <p:ph type="ftr" sz="quarter" idx="37"/>
          </p:nvPr>
        </p:nvSpPr>
        <p:spPr/>
        <p:txBody>
          <a:bodyPr/>
          <a:lstStyle/>
          <a:p>
            <a:r>
              <a:rPr lang="en-US"/>
              <a:t>© 2018 Capgemini. All rights reserved.</a:t>
            </a: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3" name="Slide Number Placeholder 4"/>
          <p:cNvSpPr>
            <a:spLocks noGrp="1"/>
          </p:cNvSpPr>
          <p:nvPr>
            <p:ph type="sldNum" sz="quarter" idx="39"/>
          </p:nvPr>
        </p:nvSpPr>
        <p:spPr>
          <a:xfrm>
            <a:off x="11784013" y="6555758"/>
            <a:ext cx="123754" cy="215444"/>
          </a:xfrm>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3231864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1.1">
    <p:bg>
      <p:bgPr>
        <a:solidFill>
          <a:schemeClr val="bg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9"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grpSp>
        <p:nvGrpSpPr>
          <p:cNvPr id="14" name="Group 14"/>
          <p:cNvGrpSpPr>
            <a:grpSpLocks noChangeAspect="1"/>
          </p:cNvGrpSpPr>
          <p:nvPr userDrawn="1"/>
        </p:nvGrpSpPr>
        <p:grpSpPr>
          <a:xfrm>
            <a:off x="416888" y="4537346"/>
            <a:ext cx="5040000" cy="1123654"/>
            <a:chOff x="728663" y="4465638"/>
            <a:chExt cx="5354637" cy="1193801"/>
          </a:xfrm>
        </p:grpSpPr>
        <p:sp>
          <p:nvSpPr>
            <p:cNvPr id="15"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0876948"/>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a:t>
            </a:r>
            <a:r>
              <a:rPr lang="en-US" sz="900" kern="1200" baseline="0" dirty="0">
                <a:solidFill>
                  <a:schemeClr val="tx1"/>
                </a:solidFill>
                <a:effectLst/>
                <a:latin typeface="+mn-lt"/>
                <a:ea typeface="+mn-ea"/>
                <a:cs typeface="+mn-cs"/>
              </a:rPr>
              <a:t> </a:t>
            </a:r>
            <a:r>
              <a:rPr lang="en-US" sz="900" kern="1200" dirty="0">
                <a:solidFill>
                  <a:schemeClr val="tx1"/>
                </a:solidFill>
                <a:effectLst/>
                <a:latin typeface="+mn-lt"/>
                <a:ea typeface="+mn-ea"/>
                <a:cs typeface="+mn-cs"/>
              </a:rPr>
              <a:t>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1"/>
          </p:cNvPr>
          <p:cNvPicPr>
            <a:picLocks noChangeAspect="1" noChangeArrowheads="1"/>
          </p:cNvPicPr>
          <p:nvPr userDrawn="1"/>
        </p:nvPicPr>
        <p:blipFill>
          <a:blip r:embed="rId12" cstate="print">
            <a:duotone>
              <a:prstClr val="black"/>
              <a:schemeClr val="tx1">
                <a:tint val="45000"/>
                <a:satMod val="400000"/>
              </a:schemeClr>
            </a:duotone>
            <a:extLst>
              <a:ext uri="{BEBA8EAE-BF5A-486C-A8C5-ECC9F3942E4B}">
                <a14:imgProps xmlns:a14="http://schemas.microsoft.com/office/drawing/2010/main">
                  <a14:imgLayer r:embed="rId13">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4"/>
          </p:cNvPr>
          <p:cNvPicPr>
            <a:picLocks noChangeAspect="1" noChangeArrowheads="1"/>
          </p:cNvPicPr>
          <p:nvPr userDrawn="1"/>
        </p:nvPicPr>
        <p:blipFill>
          <a:blip r:embed="rId15" cstate="print">
            <a:duotone>
              <a:prstClr val="black"/>
              <a:schemeClr val="tx1">
                <a:tint val="45000"/>
                <a:satMod val="400000"/>
              </a:schemeClr>
            </a:duotone>
            <a:extLst>
              <a:ext uri="{BEBA8EAE-BF5A-486C-A8C5-ECC9F3942E4B}">
                <a14:imgProps xmlns:a14="http://schemas.microsoft.com/office/drawing/2010/main">
                  <a14:imgLayer r:embed="rId16">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7"/>
          </p:cNvPr>
          <p:cNvPicPr>
            <a:picLocks noChangeAspect="1" noChangeArrowheads="1"/>
          </p:cNvPicPr>
          <p:nvPr userDrawn="1"/>
        </p:nvPicPr>
        <p:blipFill>
          <a:blip r:embed="rId18" cstate="print">
            <a:duotone>
              <a:prstClr val="black"/>
              <a:schemeClr val="tx1">
                <a:tint val="45000"/>
                <a:satMod val="400000"/>
              </a:schemeClr>
            </a:duotone>
            <a:extLst>
              <a:ext uri="{BEBA8EAE-BF5A-486C-A8C5-ECC9F3942E4B}">
                <a14:imgProps xmlns:a14="http://schemas.microsoft.com/office/drawing/2010/main">
                  <a14:imgLayer r:embed="rId19">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20"/>
          </p:cNvPr>
          <p:cNvPicPr>
            <a:picLocks noChangeAspect="1" noChangeArrowheads="1"/>
          </p:cNvPicPr>
          <p:nvPr userDrawn="1"/>
        </p:nvPicPr>
        <p:blipFill>
          <a:blip r:embed="rId21" cstate="print">
            <a:duotone>
              <a:prstClr val="black"/>
              <a:schemeClr val="tx1">
                <a:tint val="45000"/>
                <a:satMod val="400000"/>
              </a:schemeClr>
            </a:duotone>
            <a:extLst>
              <a:ext uri="{BEBA8EAE-BF5A-486C-A8C5-ECC9F3942E4B}">
                <a14:imgProps xmlns:a14="http://schemas.microsoft.com/office/drawing/2010/main">
                  <a14:imgLayer r:embed="rId22">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2">
                    <a:lumMod val="50000"/>
                  </a:schemeClr>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6172488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2123768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8" name="Objec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Freeform 9"/>
          <p:cNvSpPr>
            <a:spLocks/>
          </p:cNvSpPr>
          <p:nvPr userDrawn="1"/>
        </p:nvSpPr>
        <p:spPr bwMode="auto">
          <a:xfrm>
            <a:off x="9871075" y="0"/>
            <a:ext cx="2320925" cy="3840163"/>
          </a:xfrm>
          <a:custGeom>
            <a:avLst/>
            <a:gdLst>
              <a:gd name="T0" fmla="*/ 616 w 616"/>
              <a:gd name="T1" fmla="*/ 1021 h 1021"/>
              <a:gd name="T2" fmla="*/ 514 w 616"/>
              <a:gd name="T3" fmla="*/ 895 h 1021"/>
              <a:gd name="T4" fmla="*/ 331 w 616"/>
              <a:gd name="T5" fmla="*/ 659 h 1021"/>
              <a:gd name="T6" fmla="*/ 127 w 616"/>
              <a:gd name="T7" fmla="*/ 326 h 1021"/>
              <a:gd name="T8" fmla="*/ 0 w 616"/>
              <a:gd name="T9" fmla="*/ 0 h 1021"/>
              <a:gd name="T10" fmla="*/ 609 w 616"/>
              <a:gd name="T11" fmla="*/ 0 h 1021"/>
              <a:gd name="T12" fmla="*/ 616 w 616"/>
              <a:gd name="T13" fmla="*/ 8 h 1021"/>
              <a:gd name="T14" fmla="*/ 616 w 616"/>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6" h="1021">
                <a:moveTo>
                  <a:pt x="616" y="1021"/>
                </a:moveTo>
                <a:cubicBezTo>
                  <a:pt x="582" y="979"/>
                  <a:pt x="549" y="937"/>
                  <a:pt x="514" y="895"/>
                </a:cubicBezTo>
                <a:cubicBezTo>
                  <a:pt x="451" y="819"/>
                  <a:pt x="389" y="740"/>
                  <a:pt x="331" y="659"/>
                </a:cubicBezTo>
                <a:cubicBezTo>
                  <a:pt x="256" y="553"/>
                  <a:pt x="186" y="443"/>
                  <a:pt x="127" y="326"/>
                </a:cubicBezTo>
                <a:cubicBezTo>
                  <a:pt x="74" y="222"/>
                  <a:pt x="30" y="114"/>
                  <a:pt x="0" y="0"/>
                </a:cubicBezTo>
                <a:cubicBezTo>
                  <a:pt x="203" y="0"/>
                  <a:pt x="406" y="0"/>
                  <a:pt x="609" y="0"/>
                </a:cubicBezTo>
                <a:cubicBezTo>
                  <a:pt x="615" y="0"/>
                  <a:pt x="616" y="1"/>
                  <a:pt x="616" y="8"/>
                </a:cubicBezTo>
                <a:cubicBezTo>
                  <a:pt x="616" y="346"/>
                  <a:pt x="616" y="684"/>
                  <a:pt x="616" y="10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5"/>
          <p:cNvSpPr>
            <a:spLocks/>
          </p:cNvSpPr>
          <p:nvPr userDrawn="1"/>
        </p:nvSpPr>
        <p:spPr bwMode="auto">
          <a:xfrm>
            <a:off x="4270375" y="2336800"/>
            <a:ext cx="7921625" cy="4521200"/>
          </a:xfrm>
          <a:custGeom>
            <a:avLst/>
            <a:gdLst>
              <a:gd name="T0" fmla="*/ 0 w 2110"/>
              <a:gd name="T1" fmla="*/ 304 h 1203"/>
              <a:gd name="T2" fmla="*/ 38 w 2110"/>
              <a:gd name="T3" fmla="*/ 248 h 1203"/>
              <a:gd name="T4" fmla="*/ 212 w 2110"/>
              <a:gd name="T5" fmla="*/ 75 h 1203"/>
              <a:gd name="T6" fmla="*/ 407 w 2110"/>
              <a:gd name="T7" fmla="*/ 8 h 1203"/>
              <a:gd name="T8" fmla="*/ 670 w 2110"/>
              <a:gd name="T9" fmla="*/ 39 h 1203"/>
              <a:gd name="T10" fmla="*/ 881 w 2110"/>
              <a:gd name="T11" fmla="*/ 121 h 1203"/>
              <a:gd name="T12" fmla="*/ 1243 w 2110"/>
              <a:gd name="T13" fmla="*/ 325 h 1203"/>
              <a:gd name="T14" fmla="*/ 1469 w 2110"/>
              <a:gd name="T15" fmla="*/ 455 h 1203"/>
              <a:gd name="T16" fmla="*/ 1857 w 2110"/>
              <a:gd name="T17" fmla="*/ 624 h 1203"/>
              <a:gd name="T18" fmla="*/ 2090 w 2110"/>
              <a:gd name="T19" fmla="*/ 684 h 1203"/>
              <a:gd name="T20" fmla="*/ 2110 w 2110"/>
              <a:gd name="T21" fmla="*/ 687 h 1203"/>
              <a:gd name="T22" fmla="*/ 2110 w 2110"/>
              <a:gd name="T23" fmla="*/ 1201 h 1203"/>
              <a:gd name="T24" fmla="*/ 2102 w 2110"/>
              <a:gd name="T25" fmla="*/ 1201 h 1203"/>
              <a:gd name="T26" fmla="*/ 150 w 2110"/>
              <a:gd name="T27" fmla="*/ 1201 h 1203"/>
              <a:gd name="T28" fmla="*/ 141 w 2110"/>
              <a:gd name="T29" fmla="*/ 1200 h 1203"/>
              <a:gd name="T30" fmla="*/ 145 w 2110"/>
              <a:gd name="T31" fmla="*/ 1195 h 1203"/>
              <a:gd name="T32" fmla="*/ 213 w 2110"/>
              <a:gd name="T33" fmla="*/ 1099 h 1203"/>
              <a:gd name="T34" fmla="*/ 229 w 2110"/>
              <a:gd name="T35" fmla="*/ 923 h 1203"/>
              <a:gd name="T36" fmla="*/ 183 w 2110"/>
              <a:gd name="T37" fmla="*/ 716 h 1203"/>
              <a:gd name="T38" fmla="*/ 79 w 2110"/>
              <a:gd name="T39" fmla="*/ 463 h 1203"/>
              <a:gd name="T40" fmla="*/ 0 w 2110"/>
              <a:gd name="T41" fmla="*/ 310 h 1203"/>
              <a:gd name="T42" fmla="*/ 0 w 2110"/>
              <a:gd name="T43" fmla="*/ 304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0" h="1203">
                <a:moveTo>
                  <a:pt x="0" y="304"/>
                </a:moveTo>
                <a:cubicBezTo>
                  <a:pt x="13" y="286"/>
                  <a:pt x="25" y="267"/>
                  <a:pt x="38" y="248"/>
                </a:cubicBezTo>
                <a:cubicBezTo>
                  <a:pt x="86" y="180"/>
                  <a:pt x="141" y="120"/>
                  <a:pt x="212" y="75"/>
                </a:cubicBezTo>
                <a:cubicBezTo>
                  <a:pt x="272" y="38"/>
                  <a:pt x="337" y="15"/>
                  <a:pt x="407" y="8"/>
                </a:cubicBezTo>
                <a:cubicBezTo>
                  <a:pt x="497" y="0"/>
                  <a:pt x="584" y="14"/>
                  <a:pt x="670" y="39"/>
                </a:cubicBezTo>
                <a:cubicBezTo>
                  <a:pt x="743" y="60"/>
                  <a:pt x="813" y="89"/>
                  <a:pt x="881" y="121"/>
                </a:cubicBezTo>
                <a:cubicBezTo>
                  <a:pt x="1007" y="180"/>
                  <a:pt x="1126" y="251"/>
                  <a:pt x="1243" y="325"/>
                </a:cubicBezTo>
                <a:cubicBezTo>
                  <a:pt x="1317" y="372"/>
                  <a:pt x="1392" y="415"/>
                  <a:pt x="1469" y="455"/>
                </a:cubicBezTo>
                <a:cubicBezTo>
                  <a:pt x="1595" y="521"/>
                  <a:pt x="1723" y="578"/>
                  <a:pt x="1857" y="624"/>
                </a:cubicBezTo>
                <a:cubicBezTo>
                  <a:pt x="1933" y="650"/>
                  <a:pt x="2011" y="671"/>
                  <a:pt x="2090" y="684"/>
                </a:cubicBezTo>
                <a:cubicBezTo>
                  <a:pt x="2097" y="685"/>
                  <a:pt x="2104" y="686"/>
                  <a:pt x="2110" y="687"/>
                </a:cubicBezTo>
                <a:cubicBezTo>
                  <a:pt x="2110" y="858"/>
                  <a:pt x="2110" y="1030"/>
                  <a:pt x="2110" y="1201"/>
                </a:cubicBezTo>
                <a:cubicBezTo>
                  <a:pt x="2107" y="1201"/>
                  <a:pt x="2104" y="1201"/>
                  <a:pt x="2102" y="1201"/>
                </a:cubicBezTo>
                <a:cubicBezTo>
                  <a:pt x="1451" y="1201"/>
                  <a:pt x="801" y="1201"/>
                  <a:pt x="150" y="1201"/>
                </a:cubicBezTo>
                <a:cubicBezTo>
                  <a:pt x="147" y="1201"/>
                  <a:pt x="143" y="1203"/>
                  <a:pt x="141" y="1200"/>
                </a:cubicBezTo>
                <a:cubicBezTo>
                  <a:pt x="141" y="1197"/>
                  <a:pt x="143" y="1196"/>
                  <a:pt x="145" y="1195"/>
                </a:cubicBezTo>
                <a:cubicBezTo>
                  <a:pt x="178" y="1170"/>
                  <a:pt x="199" y="1137"/>
                  <a:pt x="213" y="1099"/>
                </a:cubicBezTo>
                <a:cubicBezTo>
                  <a:pt x="234" y="1042"/>
                  <a:pt x="235" y="983"/>
                  <a:pt x="229" y="923"/>
                </a:cubicBezTo>
                <a:cubicBezTo>
                  <a:pt x="222" y="852"/>
                  <a:pt x="205" y="783"/>
                  <a:pt x="183" y="716"/>
                </a:cubicBezTo>
                <a:cubicBezTo>
                  <a:pt x="154" y="629"/>
                  <a:pt x="118" y="545"/>
                  <a:pt x="79" y="463"/>
                </a:cubicBezTo>
                <a:cubicBezTo>
                  <a:pt x="54" y="411"/>
                  <a:pt x="28" y="360"/>
                  <a:pt x="0" y="310"/>
                </a:cubicBezTo>
                <a:cubicBezTo>
                  <a:pt x="0" y="308"/>
                  <a:pt x="0" y="306"/>
                  <a:pt x="0" y="30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491419" y="164829"/>
            <a:ext cx="424356" cy="459624"/>
          </a:xfrm>
          <a:prstGeom prst="rect">
            <a:avLst/>
          </a:prstGeom>
        </p:spPr>
      </p:pic>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6"/>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37"/>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cxnSp>
        <p:nvCxnSpPr>
          <p:cNvPr id="1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17"/>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18"/>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2374674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ct val="100000"/>
              </a:lnSpc>
              <a:defRPr sz="28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ct val="1000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US"/>
              <a:t>© 2018 Capgemini. All rights reserved.</a:t>
            </a:r>
            <a:endParaRPr lang="en-US" dirty="0"/>
          </a:p>
        </p:txBody>
      </p:sp>
      <p:sp>
        <p:nvSpPr>
          <p:cNvPr id="4" name="Slide Number Placeholder 3"/>
          <p:cNvSpPr>
            <a:spLocks noGrp="1"/>
          </p:cNvSpPr>
          <p:nvPr>
            <p:ph type="sldNum" sz="quarter" idx="1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6643351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4031828"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9" y="2002973"/>
            <a:ext cx="4031828"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solidFill>
                  <a:schemeClr val="bg1"/>
                </a:solidFill>
              </a:defRPr>
            </a:lvl1pPr>
          </a:lstStyle>
          <a:p>
            <a:r>
              <a:rPr lang="en-US"/>
              <a:t>© 2018 Capgemini. All rights reserved.</a:t>
            </a:r>
            <a:endParaRPr lang="en-US" dirty="0"/>
          </a:p>
        </p:txBody>
      </p:sp>
      <p:sp>
        <p:nvSpPr>
          <p:cNvPr id="9" name="Slide Number Placeholder 8"/>
          <p:cNvSpPr>
            <a:spLocks noGrp="1"/>
          </p:cNvSpPr>
          <p:nvPr>
            <p:ph type="sldNum" sz="quarter" idx="13"/>
          </p:nvPr>
        </p:nvSpPr>
        <p:spPr/>
        <p:txBody>
          <a:bodyPr/>
          <a:lstStyle>
            <a:lvl1pPr>
              <a:defRPr>
                <a:solidFill>
                  <a:schemeClr val="bg1"/>
                </a:solidFill>
              </a:defRPr>
            </a:lvl1pPr>
          </a:lstStyle>
          <a:p>
            <a:fld id="{DD205EFF-948D-4AF6-B54C-65639188FB5F}" type="slidenum">
              <a:rPr lang="en-US" smtClean="0"/>
              <a:pPr/>
              <a:t>‹#›</a:t>
            </a:fld>
            <a:endParaRPr lang="en-US" dirty="0"/>
          </a:p>
        </p:txBody>
      </p:sp>
      <p:sp>
        <p:nvSpPr>
          <p:cNvPr id="5" name="Picture Placeholder 4"/>
          <p:cNvSpPr>
            <a:spLocks noGrp="1"/>
          </p:cNvSpPr>
          <p:nvPr>
            <p:ph type="pic" sz="quarter" idx="14"/>
          </p:nvPr>
        </p:nvSpPr>
        <p:spPr>
          <a:xfrm>
            <a:off x="4440238" y="0"/>
            <a:ext cx="7751762" cy="6858000"/>
          </a:xfrm>
          <a:solidFill>
            <a:schemeClr val="bg2"/>
          </a:solidFill>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651654949"/>
      </p:ext>
    </p:extLst>
  </p:cSld>
  <p:clrMapOvr>
    <a:masterClrMapping/>
  </p:clrMapOvr>
  <p:extLst>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4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56494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392956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21751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5"/>
          <p:cNvSpPr>
            <a:spLocks/>
          </p:cNvSpPr>
          <p:nvPr userDrawn="1"/>
        </p:nvSpPr>
        <p:spPr bwMode="auto">
          <a:xfrm>
            <a:off x="2238375" y="927100"/>
            <a:ext cx="9953625" cy="5930900"/>
          </a:xfrm>
          <a:custGeom>
            <a:avLst/>
            <a:gdLst>
              <a:gd name="T0" fmla="*/ 2651 w 2651"/>
              <a:gd name="T1" fmla="*/ 1579 h 1579"/>
              <a:gd name="T2" fmla="*/ 77 w 2651"/>
              <a:gd name="T3" fmla="*/ 1579 h 1579"/>
              <a:gd name="T4" fmla="*/ 74 w 2651"/>
              <a:gd name="T5" fmla="*/ 1571 h 1579"/>
              <a:gd name="T6" fmla="*/ 19 w 2651"/>
              <a:gd name="T7" fmla="*/ 1324 h 1579"/>
              <a:gd name="T8" fmla="*/ 2 w 2651"/>
              <a:gd name="T9" fmla="*/ 1163 h 1579"/>
              <a:gd name="T10" fmla="*/ 0 w 2651"/>
              <a:gd name="T11" fmla="*/ 1129 h 1579"/>
              <a:gd name="T12" fmla="*/ 0 w 2651"/>
              <a:gd name="T13" fmla="*/ 1054 h 1579"/>
              <a:gd name="T14" fmla="*/ 1 w 2651"/>
              <a:gd name="T15" fmla="*/ 1048 h 1579"/>
              <a:gd name="T16" fmla="*/ 5 w 2651"/>
              <a:gd name="T17" fmla="*/ 973 h 1579"/>
              <a:gd name="T18" fmla="*/ 29 w 2651"/>
              <a:gd name="T19" fmla="*/ 824 h 1579"/>
              <a:gd name="T20" fmla="*/ 141 w 2651"/>
              <a:gd name="T21" fmla="*/ 541 h 1579"/>
              <a:gd name="T22" fmla="*/ 316 w 2651"/>
              <a:gd name="T23" fmla="*/ 309 h 1579"/>
              <a:gd name="T24" fmla="*/ 432 w 2651"/>
              <a:gd name="T25" fmla="*/ 200 h 1579"/>
              <a:gd name="T26" fmla="*/ 625 w 2651"/>
              <a:gd name="T27" fmla="*/ 56 h 1579"/>
              <a:gd name="T28" fmla="*/ 712 w 2651"/>
              <a:gd name="T29" fmla="*/ 0 h 1579"/>
              <a:gd name="T30" fmla="*/ 714 w 2651"/>
              <a:gd name="T31" fmla="*/ 0 h 1579"/>
              <a:gd name="T32" fmla="*/ 718 w 2651"/>
              <a:gd name="T33" fmla="*/ 3 h 1579"/>
              <a:gd name="T34" fmla="*/ 921 w 2651"/>
              <a:gd name="T35" fmla="*/ 110 h 1579"/>
              <a:gd name="T36" fmla="*/ 1211 w 2651"/>
              <a:gd name="T37" fmla="*/ 250 h 1579"/>
              <a:gd name="T38" fmla="*/ 1535 w 2651"/>
              <a:gd name="T39" fmla="*/ 384 h 1579"/>
              <a:gd name="T40" fmla="*/ 1706 w 2651"/>
              <a:gd name="T41" fmla="*/ 443 h 1579"/>
              <a:gd name="T42" fmla="*/ 2045 w 2651"/>
              <a:gd name="T43" fmla="*/ 528 h 1579"/>
              <a:gd name="T44" fmla="*/ 2329 w 2651"/>
              <a:gd name="T45" fmla="*/ 552 h 1579"/>
              <a:gd name="T46" fmla="*/ 2421 w 2651"/>
              <a:gd name="T47" fmla="*/ 546 h 1579"/>
              <a:gd name="T48" fmla="*/ 2639 w 2651"/>
              <a:gd name="T49" fmla="*/ 486 h 1579"/>
              <a:gd name="T50" fmla="*/ 2651 w 2651"/>
              <a:gd name="T51" fmla="*/ 493 h 1579"/>
              <a:gd name="T52" fmla="*/ 2651 w 2651"/>
              <a:gd name="T53" fmla="*/ 1569 h 1579"/>
              <a:gd name="T54" fmla="*/ 2651 w 2651"/>
              <a:gd name="T55" fmla="*/ 157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1" h="1579">
                <a:moveTo>
                  <a:pt x="2651" y="1579"/>
                </a:moveTo>
                <a:cubicBezTo>
                  <a:pt x="1793" y="1579"/>
                  <a:pt x="935" y="1579"/>
                  <a:pt x="77" y="1579"/>
                </a:cubicBezTo>
                <a:cubicBezTo>
                  <a:pt x="76" y="1576"/>
                  <a:pt x="75" y="1574"/>
                  <a:pt x="74" y="1571"/>
                </a:cubicBezTo>
                <a:cubicBezTo>
                  <a:pt x="51" y="1490"/>
                  <a:pt x="32" y="1407"/>
                  <a:pt x="19" y="1324"/>
                </a:cubicBezTo>
                <a:cubicBezTo>
                  <a:pt x="10" y="1270"/>
                  <a:pt x="5" y="1217"/>
                  <a:pt x="2" y="1163"/>
                </a:cubicBezTo>
                <a:cubicBezTo>
                  <a:pt x="1" y="1152"/>
                  <a:pt x="2" y="1140"/>
                  <a:pt x="0" y="1129"/>
                </a:cubicBezTo>
                <a:cubicBezTo>
                  <a:pt x="0" y="1104"/>
                  <a:pt x="0" y="1079"/>
                  <a:pt x="0" y="1054"/>
                </a:cubicBezTo>
                <a:cubicBezTo>
                  <a:pt x="0" y="1052"/>
                  <a:pt x="1" y="1050"/>
                  <a:pt x="1" y="1048"/>
                </a:cubicBezTo>
                <a:cubicBezTo>
                  <a:pt x="1" y="1023"/>
                  <a:pt x="3" y="998"/>
                  <a:pt x="5" y="973"/>
                </a:cubicBezTo>
                <a:cubicBezTo>
                  <a:pt x="10" y="923"/>
                  <a:pt x="18" y="873"/>
                  <a:pt x="29" y="824"/>
                </a:cubicBezTo>
                <a:cubicBezTo>
                  <a:pt x="53" y="724"/>
                  <a:pt x="90" y="630"/>
                  <a:pt x="141" y="541"/>
                </a:cubicBezTo>
                <a:cubicBezTo>
                  <a:pt x="190" y="457"/>
                  <a:pt x="249" y="380"/>
                  <a:pt x="316" y="309"/>
                </a:cubicBezTo>
                <a:cubicBezTo>
                  <a:pt x="352" y="271"/>
                  <a:pt x="391" y="235"/>
                  <a:pt x="432" y="200"/>
                </a:cubicBezTo>
                <a:cubicBezTo>
                  <a:pt x="493" y="148"/>
                  <a:pt x="558" y="100"/>
                  <a:pt x="625" y="56"/>
                </a:cubicBezTo>
                <a:cubicBezTo>
                  <a:pt x="653" y="37"/>
                  <a:pt x="683" y="19"/>
                  <a:pt x="712" y="0"/>
                </a:cubicBezTo>
                <a:cubicBezTo>
                  <a:pt x="712" y="0"/>
                  <a:pt x="713" y="0"/>
                  <a:pt x="714" y="0"/>
                </a:cubicBezTo>
                <a:cubicBezTo>
                  <a:pt x="715" y="1"/>
                  <a:pt x="717" y="2"/>
                  <a:pt x="718" y="3"/>
                </a:cubicBezTo>
                <a:cubicBezTo>
                  <a:pt x="785" y="39"/>
                  <a:pt x="853" y="75"/>
                  <a:pt x="921" y="110"/>
                </a:cubicBezTo>
                <a:cubicBezTo>
                  <a:pt x="1017" y="159"/>
                  <a:pt x="1113" y="206"/>
                  <a:pt x="1211" y="250"/>
                </a:cubicBezTo>
                <a:cubicBezTo>
                  <a:pt x="1318" y="298"/>
                  <a:pt x="1425" y="344"/>
                  <a:pt x="1535" y="384"/>
                </a:cubicBezTo>
                <a:cubicBezTo>
                  <a:pt x="1591" y="405"/>
                  <a:pt x="1648" y="425"/>
                  <a:pt x="1706" y="443"/>
                </a:cubicBezTo>
                <a:cubicBezTo>
                  <a:pt x="1817" y="478"/>
                  <a:pt x="1930" y="508"/>
                  <a:pt x="2045" y="528"/>
                </a:cubicBezTo>
                <a:cubicBezTo>
                  <a:pt x="2139" y="544"/>
                  <a:pt x="2234" y="554"/>
                  <a:pt x="2329" y="552"/>
                </a:cubicBezTo>
                <a:cubicBezTo>
                  <a:pt x="2360" y="551"/>
                  <a:pt x="2390" y="549"/>
                  <a:pt x="2421" y="546"/>
                </a:cubicBezTo>
                <a:cubicBezTo>
                  <a:pt x="2497" y="537"/>
                  <a:pt x="2570" y="519"/>
                  <a:pt x="2639" y="486"/>
                </a:cubicBezTo>
                <a:cubicBezTo>
                  <a:pt x="2651" y="480"/>
                  <a:pt x="2651" y="479"/>
                  <a:pt x="2651" y="493"/>
                </a:cubicBezTo>
                <a:cubicBezTo>
                  <a:pt x="2651" y="852"/>
                  <a:pt x="2651" y="1210"/>
                  <a:pt x="2651" y="1569"/>
                </a:cubicBezTo>
                <a:cubicBezTo>
                  <a:pt x="2651" y="1572"/>
                  <a:pt x="2651" y="1576"/>
                  <a:pt x="2651" y="15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Opener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8848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132108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752184"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3562350"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407990" y="5580773"/>
            <a:ext cx="3023716"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language/s</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3562350" y="3770848"/>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key competence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409040"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8" name="Oval 20">
            <a:extLst>
              <a:ext uri="{FF2B5EF4-FFF2-40B4-BE49-F238E27FC236}">
                <a16:creationId xmlns:a16="http://schemas.microsoft.com/office/drawing/2014/main" id="{1EFB3510-D39A-47CF-8191-109DDF9E53D5}"/>
              </a:ext>
            </a:extLst>
          </p:cNvPr>
          <p:cNvSpPr/>
          <p:nvPr userDrawn="1"/>
        </p:nvSpPr>
        <p:spPr>
          <a:xfrm>
            <a:off x="407988" y="1124680"/>
            <a:ext cx="2375552" cy="23043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Picture Placeholder 2"/>
          <p:cNvSpPr>
            <a:spLocks noGrp="1"/>
          </p:cNvSpPr>
          <p:nvPr>
            <p:ph type="pic" sz="quarter" idx="29"/>
          </p:nvPr>
        </p:nvSpPr>
        <p:spPr>
          <a:xfrm>
            <a:off x="407369" y="1124745"/>
            <a:ext cx="2205202" cy="2242569"/>
          </a:xfrm>
          <a:prstGeom prst="ellipse">
            <a:avLst/>
          </a:prstGeom>
        </p:spPr>
        <p:txBody>
          <a:bodyPr/>
          <a:lstStyle/>
          <a:p>
            <a:r>
              <a:rPr lang="en-US"/>
              <a:t>Click icon to add picture</a:t>
            </a:r>
            <a:endParaRPr lang="en-GB"/>
          </a:p>
        </p:txBody>
      </p:sp>
      <p:sp>
        <p:nvSpPr>
          <p:cNvPr id="25" name="Text Placeholder 2"/>
          <p:cNvSpPr>
            <a:spLocks noGrp="1"/>
          </p:cNvSpPr>
          <p:nvPr>
            <p:ph type="body" sz="quarter" idx="31"/>
          </p:nvPr>
        </p:nvSpPr>
        <p:spPr>
          <a:xfrm>
            <a:off x="3562350" y="4183211"/>
            <a:ext cx="3960813" cy="2270125"/>
          </a:xfrm>
        </p:spPr>
        <p:txBody>
          <a:bodyPr/>
          <a:lstStyle>
            <a:lvl1pPr>
              <a:defRPr sz="1200"/>
            </a:lvl1pPr>
            <a:lvl2pPr>
              <a:defRPr sz="12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p:cNvSpPr>
            <a:spLocks noGrp="1"/>
          </p:cNvSpPr>
          <p:nvPr>
            <p:ph type="body" sz="quarter" idx="32"/>
          </p:nvPr>
        </p:nvSpPr>
        <p:spPr>
          <a:xfrm>
            <a:off x="7752184" y="1412875"/>
            <a:ext cx="3960813" cy="5040313"/>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Footer Placeholder 14"/>
          <p:cNvSpPr>
            <a:spLocks noGrp="1"/>
          </p:cNvSpPr>
          <p:nvPr>
            <p:ph type="ftr" sz="quarter" idx="27"/>
          </p:nvPr>
        </p:nvSpPr>
        <p:spPr>
          <a:xfrm>
            <a:off x="9324107" y="6555758"/>
            <a:ext cx="2223686" cy="219456"/>
          </a:xfrm>
        </p:spPr>
        <p:txBody>
          <a:bodyPr/>
          <a:lstStyle/>
          <a:p>
            <a:r>
              <a:rPr lang="en-US"/>
              <a:t>© 2018 Capgemini. All rights reserved.</a:t>
            </a:r>
            <a:endParaRPr lang="en-US" dirty="0"/>
          </a:p>
        </p:txBody>
      </p:sp>
      <p:sp>
        <p:nvSpPr>
          <p:cNvPr id="30" name="Slide Number Placeholder 15"/>
          <p:cNvSpPr>
            <a:spLocks noGrp="1"/>
          </p:cNvSpPr>
          <p:nvPr>
            <p:ph type="sldNum" sz="quarter" idx="28"/>
          </p:nvPr>
        </p:nvSpPr>
        <p:spPr>
          <a:xfrm>
            <a:off x="11784013" y="6555758"/>
            <a:ext cx="123754" cy="215444"/>
          </a:xfrm>
        </p:spPr>
        <p:txBody>
          <a:bodyPr/>
          <a:lstStyle/>
          <a:p>
            <a:fld id="{DD205EFF-948D-4AF6-B54C-65639188FB5F}" type="slidenum">
              <a:rPr lang="en-US" smtClean="0"/>
              <a:pPr/>
              <a:t>‹#›</a:t>
            </a:fld>
            <a:endParaRPr lang="en-US" dirty="0"/>
          </a:p>
        </p:txBody>
      </p:sp>
      <p:sp>
        <p:nvSpPr>
          <p:cNvPr id="7" name="Table Placeholder 6"/>
          <p:cNvSpPr>
            <a:spLocks noGrp="1"/>
          </p:cNvSpPr>
          <p:nvPr>
            <p:ph type="tbl" sz="quarter" idx="33"/>
          </p:nvPr>
        </p:nvSpPr>
        <p:spPr>
          <a:xfrm>
            <a:off x="3562350" y="1412875"/>
            <a:ext cx="3960000" cy="2303463"/>
          </a:xfrm>
        </p:spPr>
        <p:txBody>
          <a:bodyPr/>
          <a:lstStyle>
            <a:lvl1pPr>
              <a:defRPr sz="1100"/>
            </a:lvl1pPr>
          </a:lstStyle>
          <a:p>
            <a:r>
              <a:rPr lang="en-US"/>
              <a:t>Click icon to add table</a:t>
            </a:r>
            <a:endParaRPr lang="en-GB" dirty="0"/>
          </a:p>
        </p:txBody>
      </p:sp>
      <p:pic>
        <p:nvPicPr>
          <p:cNvPr id="20" name="Capgemini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5951" y="188640"/>
            <a:ext cx="2286198" cy="512108"/>
          </a:xfrm>
          <a:prstGeom prst="rect">
            <a:avLst/>
          </a:prstGeom>
        </p:spPr>
      </p:pic>
    </p:spTree>
    <p:extLst>
      <p:ext uri="{BB962C8B-B14F-4D97-AF65-F5344CB8AC3E}">
        <p14:creationId xmlns:p14="http://schemas.microsoft.com/office/powerpoint/2010/main" val="33886556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noChangeAspect="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noChangeAspect="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noChangeAspect="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noChangeAspect="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6" name="Footer Placeholder 5"/>
          <p:cNvSpPr>
            <a:spLocks noGrp="1"/>
          </p:cNvSpPr>
          <p:nvPr>
            <p:ph type="ftr" sz="quarter" idx="37"/>
          </p:nvPr>
        </p:nvSpPr>
        <p:spPr/>
        <p:txBody>
          <a:bodyPr/>
          <a:lstStyle/>
          <a:p>
            <a:r>
              <a:rPr lang="en-US"/>
              <a:t>© 2018 Capgemini. All rights reserved.</a:t>
            </a:r>
            <a:endParaRPr lang="en-US" dirty="0"/>
          </a:p>
        </p:txBody>
      </p:sp>
      <p:sp>
        <p:nvSpPr>
          <p:cNvPr id="7" name="Slide Number Placeholder 6"/>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7973977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221110"/>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6" name="Footer Placeholder 5"/>
          <p:cNvSpPr>
            <a:spLocks noGrp="1"/>
          </p:cNvSpPr>
          <p:nvPr>
            <p:ph type="ftr" sz="quarter" idx="38"/>
          </p:nvPr>
        </p:nvSpPr>
        <p:spPr/>
        <p:txBody>
          <a:bodyPr/>
          <a:lstStyle/>
          <a:p>
            <a:r>
              <a:rPr lang="en-US"/>
              <a:t>© 2018 Capgemini. All rights reserved.</a:t>
            </a:r>
            <a:endParaRPr lang="en-US" dirty="0"/>
          </a:p>
        </p:txBody>
      </p:sp>
      <p:sp>
        <p:nvSpPr>
          <p:cNvPr id="7" name="Slide Number Placeholder 6"/>
          <p:cNvSpPr>
            <a:spLocks noGrp="1"/>
          </p:cNvSpPr>
          <p:nvPr>
            <p:ph type="sldNum" sz="quarter" idx="39"/>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706984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4292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1" y="1"/>
            <a:ext cx="6728158" cy="6238418"/>
          </a:xfrm>
          <a:custGeom>
            <a:avLst/>
            <a:gdLst>
              <a:gd name="T0" fmla="*/ 1 w 2122"/>
              <a:gd name="T1" fmla="*/ 0 h 1967"/>
              <a:gd name="T2" fmla="*/ 1662 w 2122"/>
              <a:gd name="T3" fmla="*/ 0 h 1967"/>
              <a:gd name="T4" fmla="*/ 1669 w 2122"/>
              <a:gd name="T5" fmla="*/ 9 h 1967"/>
              <a:gd name="T6" fmla="*/ 1815 w 2122"/>
              <a:gd name="T7" fmla="*/ 158 h 1967"/>
              <a:gd name="T8" fmla="*/ 2031 w 2122"/>
              <a:gd name="T9" fmla="*/ 451 h 1967"/>
              <a:gd name="T10" fmla="*/ 2116 w 2122"/>
              <a:gd name="T11" fmla="*/ 718 h 1967"/>
              <a:gd name="T12" fmla="*/ 2073 w 2122"/>
              <a:gd name="T13" fmla="*/ 955 h 1967"/>
              <a:gd name="T14" fmla="*/ 1898 w 2122"/>
              <a:gd name="T15" fmla="*/ 1179 h 1967"/>
              <a:gd name="T16" fmla="*/ 1659 w 2122"/>
              <a:gd name="T17" fmla="*/ 1351 h 1967"/>
              <a:gd name="T18" fmla="*/ 1314 w 2122"/>
              <a:gd name="T19" fmla="*/ 1534 h 1967"/>
              <a:gd name="T20" fmla="*/ 1001 w 2122"/>
              <a:gd name="T21" fmla="*/ 1698 h 1967"/>
              <a:gd name="T22" fmla="*/ 833 w 2122"/>
              <a:gd name="T23" fmla="*/ 1819 h 1967"/>
              <a:gd name="T24" fmla="*/ 761 w 2122"/>
              <a:gd name="T25" fmla="*/ 1934 h 1967"/>
              <a:gd name="T26" fmla="*/ 752 w 2122"/>
              <a:gd name="T27" fmla="*/ 1942 h 1967"/>
              <a:gd name="T28" fmla="*/ 582 w 2122"/>
              <a:gd name="T29" fmla="*/ 1963 h 1967"/>
              <a:gd name="T30" fmla="*/ 409 w 2122"/>
              <a:gd name="T31" fmla="*/ 1910 h 1967"/>
              <a:gd name="T32" fmla="*/ 243 w 2122"/>
              <a:gd name="T33" fmla="*/ 1757 h 1967"/>
              <a:gd name="T34" fmla="*/ 98 w 2122"/>
              <a:gd name="T35" fmla="*/ 1476 h 1967"/>
              <a:gd name="T36" fmla="*/ 13 w 2122"/>
              <a:gd name="T37" fmla="*/ 1161 h 1967"/>
              <a:gd name="T38" fmla="*/ 1 w 2122"/>
              <a:gd name="T39" fmla="*/ 1063 h 1967"/>
              <a:gd name="T40" fmla="*/ 1 w 2122"/>
              <a:gd name="T41" fmla="*/ 16 h 1967"/>
              <a:gd name="T42" fmla="*/ 1 w 2122"/>
              <a:gd name="T43"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967">
                <a:moveTo>
                  <a:pt x="1" y="0"/>
                </a:moveTo>
                <a:cubicBezTo>
                  <a:pt x="555" y="0"/>
                  <a:pt x="1108" y="0"/>
                  <a:pt x="1662" y="0"/>
                </a:cubicBezTo>
                <a:cubicBezTo>
                  <a:pt x="1664" y="3"/>
                  <a:pt x="1666" y="6"/>
                  <a:pt x="1669" y="9"/>
                </a:cubicBezTo>
                <a:cubicBezTo>
                  <a:pt x="1718" y="59"/>
                  <a:pt x="1768" y="107"/>
                  <a:pt x="1815" y="158"/>
                </a:cubicBezTo>
                <a:cubicBezTo>
                  <a:pt x="1898" y="248"/>
                  <a:pt x="1973" y="344"/>
                  <a:pt x="2031" y="451"/>
                </a:cubicBezTo>
                <a:cubicBezTo>
                  <a:pt x="2076" y="535"/>
                  <a:pt x="2108" y="623"/>
                  <a:pt x="2116" y="718"/>
                </a:cubicBezTo>
                <a:cubicBezTo>
                  <a:pt x="2122" y="800"/>
                  <a:pt x="2108" y="880"/>
                  <a:pt x="2073" y="955"/>
                </a:cubicBezTo>
                <a:cubicBezTo>
                  <a:pt x="2032" y="1043"/>
                  <a:pt x="1970" y="1115"/>
                  <a:pt x="1898" y="1179"/>
                </a:cubicBezTo>
                <a:cubicBezTo>
                  <a:pt x="1825" y="1245"/>
                  <a:pt x="1743" y="1300"/>
                  <a:pt x="1659" y="1351"/>
                </a:cubicBezTo>
                <a:cubicBezTo>
                  <a:pt x="1547" y="1418"/>
                  <a:pt x="1431" y="1476"/>
                  <a:pt x="1314" y="1534"/>
                </a:cubicBezTo>
                <a:cubicBezTo>
                  <a:pt x="1209" y="1587"/>
                  <a:pt x="1102" y="1638"/>
                  <a:pt x="1001" y="1698"/>
                </a:cubicBezTo>
                <a:cubicBezTo>
                  <a:pt x="941" y="1733"/>
                  <a:pt x="883" y="1770"/>
                  <a:pt x="833" y="1819"/>
                </a:cubicBezTo>
                <a:cubicBezTo>
                  <a:pt x="800" y="1852"/>
                  <a:pt x="773" y="1888"/>
                  <a:pt x="761" y="1934"/>
                </a:cubicBezTo>
                <a:cubicBezTo>
                  <a:pt x="761" y="1937"/>
                  <a:pt x="755" y="1941"/>
                  <a:pt x="752" y="1942"/>
                </a:cubicBezTo>
                <a:cubicBezTo>
                  <a:pt x="696" y="1958"/>
                  <a:pt x="640" y="1967"/>
                  <a:pt x="582" y="1963"/>
                </a:cubicBezTo>
                <a:cubicBezTo>
                  <a:pt x="520" y="1958"/>
                  <a:pt x="463" y="1941"/>
                  <a:pt x="409" y="1910"/>
                </a:cubicBezTo>
                <a:cubicBezTo>
                  <a:pt x="342" y="1872"/>
                  <a:pt x="289" y="1818"/>
                  <a:pt x="243" y="1757"/>
                </a:cubicBezTo>
                <a:cubicBezTo>
                  <a:pt x="180" y="1671"/>
                  <a:pt x="134" y="1575"/>
                  <a:pt x="98" y="1476"/>
                </a:cubicBezTo>
                <a:cubicBezTo>
                  <a:pt x="60" y="1373"/>
                  <a:pt x="33" y="1268"/>
                  <a:pt x="13" y="1161"/>
                </a:cubicBezTo>
                <a:cubicBezTo>
                  <a:pt x="8" y="1128"/>
                  <a:pt x="1" y="1096"/>
                  <a:pt x="1" y="1063"/>
                </a:cubicBezTo>
                <a:cubicBezTo>
                  <a:pt x="0" y="714"/>
                  <a:pt x="1" y="365"/>
                  <a:pt x="1" y="16"/>
                </a:cubicBezTo>
                <a:cubicBezTo>
                  <a:pt x="1" y="11"/>
                  <a:pt x="1" y="6"/>
                  <a:pt x="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ooter Placeholder 11"/>
          <p:cNvSpPr>
            <a:spLocks noGrp="1"/>
          </p:cNvSpPr>
          <p:nvPr>
            <p:ph type="ftr" sz="quarter" idx="43"/>
          </p:nvPr>
        </p:nvSpPr>
        <p:spPr/>
        <p:txBody>
          <a:bodyPr/>
          <a:lstStyle/>
          <a:p>
            <a:r>
              <a:rPr lang="en-US"/>
              <a:t>© 2018 Capgemini. All rights reserved.</a:t>
            </a:r>
            <a:endParaRPr lang="en-US" dirty="0"/>
          </a:p>
        </p:txBody>
      </p:sp>
      <p:sp>
        <p:nvSpPr>
          <p:cNvPr id="13" name="Slide Number Placeholder 12"/>
          <p:cNvSpPr>
            <a:spLocks noGrp="1"/>
          </p:cNvSpPr>
          <p:nvPr>
            <p:ph type="sldNum" sz="quarter" idx="44"/>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458139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Freeform 5"/>
          <p:cNvSpPr>
            <a:spLocks/>
          </p:cNvSpPr>
          <p:nvPr userDrawn="1"/>
        </p:nvSpPr>
        <p:spPr bwMode="auto">
          <a:xfrm>
            <a:off x="10543422" y="1"/>
            <a:ext cx="1648578" cy="5085230"/>
          </a:xfrm>
          <a:custGeom>
            <a:avLst/>
            <a:gdLst>
              <a:gd name="T0" fmla="*/ 91 w 548"/>
              <a:gd name="T1" fmla="*/ 0 h 1694"/>
              <a:gd name="T2" fmla="*/ 548 w 548"/>
              <a:gd name="T3" fmla="*/ 0 h 1694"/>
              <a:gd name="T4" fmla="*/ 548 w 548"/>
              <a:gd name="T5" fmla="*/ 1694 h 1694"/>
              <a:gd name="T6" fmla="*/ 489 w 548"/>
              <a:gd name="T7" fmla="*/ 1661 h 1694"/>
              <a:gd name="T8" fmla="*/ 233 w 548"/>
              <a:gd name="T9" fmla="*/ 1367 h 1694"/>
              <a:gd name="T10" fmla="*/ 129 w 548"/>
              <a:gd name="T11" fmla="*/ 1033 h 1694"/>
              <a:gd name="T12" fmla="*/ 83 w 548"/>
              <a:gd name="T13" fmla="*/ 629 h 1694"/>
              <a:gd name="T14" fmla="*/ 54 w 548"/>
              <a:gd name="T15" fmla="*/ 304 h 1694"/>
              <a:gd name="T16" fmla="*/ 2 w 548"/>
              <a:gd name="T17" fmla="*/ 84 h 1694"/>
              <a:gd name="T18" fmla="*/ 6 w 548"/>
              <a:gd name="T19" fmla="*/ 73 h 1694"/>
              <a:gd name="T20" fmla="*/ 83 w 548"/>
              <a:gd name="T21" fmla="*/ 8 h 1694"/>
              <a:gd name="T22" fmla="*/ 91 w 548"/>
              <a:gd name="T23"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1694">
                <a:moveTo>
                  <a:pt x="91" y="0"/>
                </a:moveTo>
                <a:cubicBezTo>
                  <a:pt x="243" y="0"/>
                  <a:pt x="395" y="0"/>
                  <a:pt x="548" y="0"/>
                </a:cubicBezTo>
                <a:cubicBezTo>
                  <a:pt x="548" y="564"/>
                  <a:pt x="548" y="1129"/>
                  <a:pt x="548" y="1694"/>
                </a:cubicBezTo>
                <a:cubicBezTo>
                  <a:pt x="528" y="1683"/>
                  <a:pt x="508" y="1673"/>
                  <a:pt x="489" y="1661"/>
                </a:cubicBezTo>
                <a:cubicBezTo>
                  <a:pt x="375" y="1588"/>
                  <a:pt x="292" y="1488"/>
                  <a:pt x="233" y="1367"/>
                </a:cubicBezTo>
                <a:cubicBezTo>
                  <a:pt x="181" y="1261"/>
                  <a:pt x="151" y="1149"/>
                  <a:pt x="129" y="1033"/>
                </a:cubicBezTo>
                <a:cubicBezTo>
                  <a:pt x="105" y="900"/>
                  <a:pt x="94" y="765"/>
                  <a:pt x="83" y="629"/>
                </a:cubicBezTo>
                <a:cubicBezTo>
                  <a:pt x="75" y="521"/>
                  <a:pt x="66" y="413"/>
                  <a:pt x="54" y="304"/>
                </a:cubicBezTo>
                <a:cubicBezTo>
                  <a:pt x="46" y="229"/>
                  <a:pt x="31" y="155"/>
                  <a:pt x="2" y="84"/>
                </a:cubicBezTo>
                <a:cubicBezTo>
                  <a:pt x="0" y="78"/>
                  <a:pt x="2" y="76"/>
                  <a:pt x="6" y="73"/>
                </a:cubicBezTo>
                <a:cubicBezTo>
                  <a:pt x="32" y="51"/>
                  <a:pt x="58" y="30"/>
                  <a:pt x="83" y="8"/>
                </a:cubicBezTo>
                <a:cubicBezTo>
                  <a:pt x="86" y="6"/>
                  <a:pt x="88" y="3"/>
                  <a:pt x="9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11" name="Title 10"/>
          <p:cNvSpPr>
            <a:spLocks noGrp="1"/>
          </p:cNvSpPr>
          <p:nvPr>
            <p:ph type="title"/>
          </p:nvPr>
        </p:nvSpPr>
        <p:spPr/>
        <p:txBody>
          <a:bodyPr/>
          <a:lstStyle/>
          <a:p>
            <a:r>
              <a:rPr lang="en-US"/>
              <a:t>Click to edit Master title style</a:t>
            </a:r>
            <a:endParaRPr lang="de-DE"/>
          </a:p>
        </p:txBody>
      </p:sp>
      <p:sp>
        <p:nvSpPr>
          <p:cNvPr id="13" name="Footer Placeholder 12"/>
          <p:cNvSpPr>
            <a:spLocks noGrp="1"/>
          </p:cNvSpPr>
          <p:nvPr>
            <p:ph type="ftr" sz="quarter" idx="11"/>
          </p:nvPr>
        </p:nvSpPr>
        <p:spPr/>
        <p:txBody>
          <a:bodyPr/>
          <a:lstStyle/>
          <a:p>
            <a:r>
              <a:rPr lang="en-US"/>
              <a:t>© 2018 Capgemini. All rights reserved.</a:t>
            </a:r>
            <a:endParaRPr lang="en-US" dirty="0"/>
          </a:p>
        </p:txBody>
      </p:sp>
      <p:sp>
        <p:nvSpPr>
          <p:cNvPr id="16" name="Slide Number Placeholder 15"/>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34"/>
          </p:nvPr>
        </p:nvSpPr>
        <p:spPr/>
        <p:txBody>
          <a:bodyPr/>
          <a:lstStyle>
            <a:lvl1pPr>
              <a:defRPr>
                <a:solidFill>
                  <a:schemeClr val="bg1"/>
                </a:solidFill>
              </a:defRPr>
            </a:lvl1pPr>
          </a:lstStyle>
          <a:p>
            <a:r>
              <a:rPr lang="en-US"/>
              <a:t>© 2018 Capgemini. All rights reserved.</a:t>
            </a:r>
            <a:endParaRPr lang="en-US" dirty="0"/>
          </a:p>
        </p:txBody>
      </p:sp>
      <p:sp>
        <p:nvSpPr>
          <p:cNvPr id="10" name="Slide Number Placeholder 9"/>
          <p:cNvSpPr>
            <a:spLocks noGrp="1"/>
          </p:cNvSpPr>
          <p:nvPr>
            <p:ph type="sldNum" sz="quarter" idx="3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1851144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reeform 5"/>
          <p:cNvSpPr>
            <a:spLocks/>
          </p:cNvSpPr>
          <p:nvPr userDrawn="1"/>
        </p:nvSpPr>
        <p:spPr bwMode="auto">
          <a:xfrm>
            <a:off x="0" y="0"/>
            <a:ext cx="5452303" cy="6384585"/>
          </a:xfrm>
          <a:custGeom>
            <a:avLst/>
            <a:gdLst>
              <a:gd name="T0" fmla="*/ 0 w 1745"/>
              <a:gd name="T1" fmla="*/ 1807 h 2044"/>
              <a:gd name="T2" fmla="*/ 0 w 1745"/>
              <a:gd name="T3" fmla="*/ 0 h 2044"/>
              <a:gd name="T4" fmla="*/ 1742 w 1745"/>
              <a:gd name="T5" fmla="*/ 0 h 2044"/>
              <a:gd name="T6" fmla="*/ 1742 w 1745"/>
              <a:gd name="T7" fmla="*/ 10 h 2044"/>
              <a:gd name="T8" fmla="*/ 1735 w 1745"/>
              <a:gd name="T9" fmla="*/ 160 h 2044"/>
              <a:gd name="T10" fmla="*/ 1654 w 1745"/>
              <a:gd name="T11" fmla="*/ 439 h 2044"/>
              <a:gd name="T12" fmla="*/ 1452 w 1745"/>
              <a:gd name="T13" fmla="*/ 821 h 2044"/>
              <a:gd name="T14" fmla="*/ 1197 w 1745"/>
              <a:gd name="T15" fmla="*/ 1214 h 2044"/>
              <a:gd name="T16" fmla="*/ 1019 w 1745"/>
              <a:gd name="T17" fmla="*/ 1509 h 2044"/>
              <a:gd name="T18" fmla="*/ 946 w 1745"/>
              <a:gd name="T19" fmla="*/ 1692 h 2044"/>
              <a:gd name="T20" fmla="*/ 945 w 1745"/>
              <a:gd name="T21" fmla="*/ 1848 h 2044"/>
              <a:gd name="T22" fmla="*/ 941 w 1745"/>
              <a:gd name="T23" fmla="*/ 1857 h 2044"/>
              <a:gd name="T24" fmla="*/ 873 w 1745"/>
              <a:gd name="T25" fmla="*/ 1920 h 2044"/>
              <a:gd name="T26" fmla="*/ 522 w 1745"/>
              <a:gd name="T27" fmla="*/ 2037 h 2044"/>
              <a:gd name="T28" fmla="*/ 267 w 1745"/>
              <a:gd name="T29" fmla="*/ 1971 h 2044"/>
              <a:gd name="T30" fmla="*/ 12 w 1745"/>
              <a:gd name="T31" fmla="*/ 1814 h 2044"/>
              <a:gd name="T32" fmla="*/ 0 w 1745"/>
              <a:gd name="T33" fmla="*/ 1807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5" h="2044">
                <a:moveTo>
                  <a:pt x="0" y="1807"/>
                </a:moveTo>
                <a:cubicBezTo>
                  <a:pt x="0" y="1205"/>
                  <a:pt x="0" y="602"/>
                  <a:pt x="0" y="0"/>
                </a:cubicBezTo>
                <a:cubicBezTo>
                  <a:pt x="580" y="0"/>
                  <a:pt x="1161" y="0"/>
                  <a:pt x="1742" y="0"/>
                </a:cubicBezTo>
                <a:cubicBezTo>
                  <a:pt x="1742" y="3"/>
                  <a:pt x="1741" y="7"/>
                  <a:pt x="1742" y="10"/>
                </a:cubicBezTo>
                <a:cubicBezTo>
                  <a:pt x="1745" y="60"/>
                  <a:pt x="1742" y="110"/>
                  <a:pt x="1735" y="160"/>
                </a:cubicBezTo>
                <a:cubicBezTo>
                  <a:pt x="1721" y="257"/>
                  <a:pt x="1691" y="349"/>
                  <a:pt x="1654" y="439"/>
                </a:cubicBezTo>
                <a:cubicBezTo>
                  <a:pt x="1599" y="573"/>
                  <a:pt x="1529" y="699"/>
                  <a:pt x="1452" y="821"/>
                </a:cubicBezTo>
                <a:cubicBezTo>
                  <a:pt x="1369" y="953"/>
                  <a:pt x="1282" y="1083"/>
                  <a:pt x="1197" y="1214"/>
                </a:cubicBezTo>
                <a:cubicBezTo>
                  <a:pt x="1134" y="1311"/>
                  <a:pt x="1072" y="1407"/>
                  <a:pt x="1019" y="1509"/>
                </a:cubicBezTo>
                <a:cubicBezTo>
                  <a:pt x="989" y="1568"/>
                  <a:pt x="962" y="1628"/>
                  <a:pt x="946" y="1692"/>
                </a:cubicBezTo>
                <a:cubicBezTo>
                  <a:pt x="933" y="1744"/>
                  <a:pt x="929" y="1796"/>
                  <a:pt x="945" y="1848"/>
                </a:cubicBezTo>
                <a:cubicBezTo>
                  <a:pt x="945" y="1850"/>
                  <a:pt x="943" y="1855"/>
                  <a:pt x="941" y="1857"/>
                </a:cubicBezTo>
                <a:cubicBezTo>
                  <a:pt x="919" y="1878"/>
                  <a:pt x="897" y="1901"/>
                  <a:pt x="873" y="1920"/>
                </a:cubicBezTo>
                <a:cubicBezTo>
                  <a:pt x="771" y="2003"/>
                  <a:pt x="654" y="2044"/>
                  <a:pt x="522" y="2037"/>
                </a:cubicBezTo>
                <a:cubicBezTo>
                  <a:pt x="432" y="2032"/>
                  <a:pt x="348" y="2007"/>
                  <a:pt x="267" y="1971"/>
                </a:cubicBezTo>
                <a:cubicBezTo>
                  <a:pt x="175" y="1929"/>
                  <a:pt x="92" y="1875"/>
                  <a:pt x="12" y="1814"/>
                </a:cubicBezTo>
                <a:cubicBezTo>
                  <a:pt x="8" y="1811"/>
                  <a:pt x="4" y="1809"/>
                  <a:pt x="0" y="180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Picture Placeholder 14">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1999" cy="6857998"/>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 name="connsiteX4" fmla="*/ 0 w 12191999"/>
              <a:gd name="connsiteY4" fmla="*/ 5644299 h 6857998"/>
              <a:gd name="connsiteX5" fmla="*/ 37495 w 12191999"/>
              <a:gd name="connsiteY5" fmla="*/ 5666164 h 6857998"/>
              <a:gd name="connsiteX6" fmla="*/ 834250 w 12191999"/>
              <a:gd name="connsiteY6" fmla="*/ 6156565 h 6857998"/>
              <a:gd name="connsiteX7" fmla="*/ 1631004 w 12191999"/>
              <a:gd name="connsiteY7" fmla="*/ 6362721 h 6857998"/>
              <a:gd name="connsiteX8" fmla="*/ 2727714 w 12191999"/>
              <a:gd name="connsiteY8" fmla="*/ 5997263 h 6857998"/>
              <a:gd name="connsiteX9" fmla="*/ 2940182 w 12191999"/>
              <a:gd name="connsiteY9" fmla="*/ 5800478 h 6857998"/>
              <a:gd name="connsiteX10" fmla="*/ 2952680 w 12191999"/>
              <a:gd name="connsiteY10" fmla="*/ 5772366 h 6857998"/>
              <a:gd name="connsiteX11" fmla="*/ 2955805 w 12191999"/>
              <a:gd name="connsiteY11" fmla="*/ 5285088 h 6857998"/>
              <a:gd name="connsiteX12" fmla="*/ 3183895 w 12191999"/>
              <a:gd name="connsiteY12" fmla="*/ 4713474 h 6857998"/>
              <a:gd name="connsiteX13" fmla="*/ 3740061 w 12191999"/>
              <a:gd name="connsiteY13" fmla="*/ 3792020 h 6857998"/>
              <a:gd name="connsiteX14" fmla="*/ 4536816 w 12191999"/>
              <a:gd name="connsiteY14" fmla="*/ 2564455 h 6857998"/>
              <a:gd name="connsiteX15" fmla="*/ 5167971 w 12191999"/>
              <a:gd name="connsiteY15" fmla="*/ 1371250 h 6857998"/>
              <a:gd name="connsiteX16" fmla="*/ 5421058 w 12191999"/>
              <a:gd name="connsiteY16" fmla="*/ 499773 h 6857998"/>
              <a:gd name="connsiteX17" fmla="*/ 5442930 w 12191999"/>
              <a:gd name="connsiteY17" fmla="*/ 31237 h 6857998"/>
              <a:gd name="connsiteX18" fmla="*/ 5442930 w 12191999"/>
              <a:gd name="connsiteY18" fmla="*/ 1 h 6857998"/>
              <a:gd name="connsiteX19" fmla="*/ 0 w 12191999"/>
              <a:gd name="connsiteY19"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8">
                <a:moveTo>
                  <a:pt x="0" y="0"/>
                </a:moveTo>
                <a:lnTo>
                  <a:pt x="12191999" y="0"/>
                </a:lnTo>
                <a:lnTo>
                  <a:pt x="12191999" y="6857998"/>
                </a:lnTo>
                <a:lnTo>
                  <a:pt x="0" y="6857998"/>
                </a:lnTo>
                <a:lnTo>
                  <a:pt x="0" y="5644299"/>
                </a:lnTo>
                <a:cubicBezTo>
                  <a:pt x="12498" y="5650546"/>
                  <a:pt x="24996" y="5656794"/>
                  <a:pt x="37495" y="5666164"/>
                </a:cubicBezTo>
                <a:cubicBezTo>
                  <a:pt x="287457" y="5856702"/>
                  <a:pt x="546793" y="6025375"/>
                  <a:pt x="834250" y="6156565"/>
                </a:cubicBezTo>
                <a:cubicBezTo>
                  <a:pt x="1087336" y="6269014"/>
                  <a:pt x="1349797" y="6347103"/>
                  <a:pt x="1631004" y="6362721"/>
                </a:cubicBezTo>
                <a:cubicBezTo>
                  <a:pt x="2043442" y="6384586"/>
                  <a:pt x="2409012" y="6256520"/>
                  <a:pt x="2727714" y="5997263"/>
                </a:cubicBezTo>
                <a:cubicBezTo>
                  <a:pt x="2802703" y="5937915"/>
                  <a:pt x="2871442" y="5866073"/>
                  <a:pt x="2940182" y="5800478"/>
                </a:cubicBezTo>
                <a:cubicBezTo>
                  <a:pt x="2946431" y="5794231"/>
                  <a:pt x="2952680" y="5778613"/>
                  <a:pt x="2952680" y="5772366"/>
                </a:cubicBezTo>
                <a:cubicBezTo>
                  <a:pt x="2902688" y="5609940"/>
                  <a:pt x="2915186" y="5447514"/>
                  <a:pt x="2955805" y="5285088"/>
                </a:cubicBezTo>
                <a:cubicBezTo>
                  <a:pt x="3005797" y="5085180"/>
                  <a:pt x="3090159" y="4897765"/>
                  <a:pt x="3183895" y="4713474"/>
                </a:cubicBezTo>
                <a:cubicBezTo>
                  <a:pt x="3349495" y="4394870"/>
                  <a:pt x="3543216" y="4095006"/>
                  <a:pt x="3740061" y="3792020"/>
                </a:cubicBezTo>
                <a:cubicBezTo>
                  <a:pt x="4005646" y="3382832"/>
                  <a:pt x="4277480" y="2976767"/>
                  <a:pt x="4536816" y="2564455"/>
                </a:cubicBezTo>
                <a:cubicBezTo>
                  <a:pt x="4777405" y="2183379"/>
                  <a:pt x="4996122" y="1789809"/>
                  <a:pt x="5167971" y="1371250"/>
                </a:cubicBezTo>
                <a:cubicBezTo>
                  <a:pt x="5283579" y="1090128"/>
                  <a:pt x="5377315" y="802760"/>
                  <a:pt x="5421058" y="499773"/>
                </a:cubicBezTo>
                <a:cubicBezTo>
                  <a:pt x="5442930" y="343594"/>
                  <a:pt x="5452303" y="187416"/>
                  <a:pt x="5442930" y="31237"/>
                </a:cubicBezTo>
                <a:cubicBezTo>
                  <a:pt x="5439805" y="21866"/>
                  <a:pt x="5442930" y="9372"/>
                  <a:pt x="5442930" y="1"/>
                </a:cubicBezTo>
                <a:cubicBezTo>
                  <a:pt x="3627578" y="1"/>
                  <a:pt x="1812227"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667452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0" y="0"/>
            <a:ext cx="93726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Picture Placeholder 15">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2570884 w 12192000"/>
              <a:gd name="connsiteY3" fmla="*/ 6857998 h 6857998"/>
              <a:gd name="connsiteX4" fmla="*/ 2799402 w 12192000"/>
              <a:gd name="connsiteY4" fmla="*/ 6699251 h 6857998"/>
              <a:gd name="connsiteX5" fmla="*/ 4437147 w 12192000"/>
              <a:gd name="connsiteY5" fmla="*/ 5397501 h 6857998"/>
              <a:gd name="connsiteX6" fmla="*/ 4453017 w 12192000"/>
              <a:gd name="connsiteY6" fmla="*/ 5381626 h 6857998"/>
              <a:gd name="connsiteX7" fmla="*/ 4430799 w 12192000"/>
              <a:gd name="connsiteY7" fmla="*/ 5340351 h 6857998"/>
              <a:gd name="connsiteX8" fmla="*/ 4135624 w 12192000"/>
              <a:gd name="connsiteY8" fmla="*/ 4632326 h 6857998"/>
              <a:gd name="connsiteX9" fmla="*/ 4145146 w 12192000"/>
              <a:gd name="connsiteY9" fmla="*/ 3870326 h 6857998"/>
              <a:gd name="connsiteX10" fmla="*/ 4478408 w 12192000"/>
              <a:gd name="connsiteY10" fmla="*/ 3324226 h 6857998"/>
              <a:gd name="connsiteX11" fmla="*/ 5179846 w 12192000"/>
              <a:gd name="connsiteY11" fmla="*/ 2781301 h 6857998"/>
              <a:gd name="connsiteX12" fmla="*/ 6265328 w 12192000"/>
              <a:gd name="connsiteY12" fmla="*/ 2225676 h 6857998"/>
              <a:gd name="connsiteX13" fmla="*/ 7684072 w 12192000"/>
              <a:gd name="connsiteY13" fmla="*/ 1616076 h 6857998"/>
              <a:gd name="connsiteX14" fmla="*/ 8534684 w 12192000"/>
              <a:gd name="connsiteY14" fmla="*/ 1139826 h 6857998"/>
              <a:gd name="connsiteX15" fmla="*/ 9242469 w 12192000"/>
              <a:gd name="connsiteY15" fmla="*/ 330201 h 6857998"/>
              <a:gd name="connsiteX16" fmla="*/ 9366252 w 12192000"/>
              <a:gd name="connsiteY16" fmla="*/ 28576 h 6857998"/>
              <a:gd name="connsiteX17" fmla="*/ 9372600 w 12192000"/>
              <a:gd name="connsiteY17" fmla="*/ 1 h 6857998"/>
              <a:gd name="connsiteX18" fmla="*/ 0 w 12192000"/>
              <a:gd name="connsiteY18"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7998">
                <a:moveTo>
                  <a:pt x="0" y="0"/>
                </a:moveTo>
                <a:lnTo>
                  <a:pt x="12192000" y="0"/>
                </a:lnTo>
                <a:lnTo>
                  <a:pt x="12192000" y="6857998"/>
                </a:lnTo>
                <a:lnTo>
                  <a:pt x="2570884" y="6857998"/>
                </a:lnTo>
                <a:lnTo>
                  <a:pt x="2799402" y="6699251"/>
                </a:lnTo>
                <a:cubicBezTo>
                  <a:pt x="3367535" y="6296026"/>
                  <a:pt x="3910276" y="5857876"/>
                  <a:pt x="4437147" y="5397501"/>
                </a:cubicBezTo>
                <a:cubicBezTo>
                  <a:pt x="4440322" y="5391151"/>
                  <a:pt x="4446669" y="5387976"/>
                  <a:pt x="4453017" y="5381626"/>
                </a:cubicBezTo>
                <a:cubicBezTo>
                  <a:pt x="4446669" y="5368926"/>
                  <a:pt x="4440322" y="5356226"/>
                  <a:pt x="4430799" y="5340351"/>
                </a:cubicBezTo>
                <a:cubicBezTo>
                  <a:pt x="4307016" y="5118101"/>
                  <a:pt x="4199103" y="4883151"/>
                  <a:pt x="4135624" y="4632326"/>
                </a:cubicBezTo>
                <a:cubicBezTo>
                  <a:pt x="4072146" y="4378326"/>
                  <a:pt x="4062624" y="4124326"/>
                  <a:pt x="4145146" y="3870326"/>
                </a:cubicBezTo>
                <a:cubicBezTo>
                  <a:pt x="4211798" y="3660776"/>
                  <a:pt x="4329234" y="3482976"/>
                  <a:pt x="4478408" y="3324226"/>
                </a:cubicBezTo>
                <a:cubicBezTo>
                  <a:pt x="4681539" y="3105151"/>
                  <a:pt x="4922758" y="2933701"/>
                  <a:pt x="5179846" y="2781301"/>
                </a:cubicBezTo>
                <a:cubicBezTo>
                  <a:pt x="5528977" y="2568576"/>
                  <a:pt x="5893979" y="2390776"/>
                  <a:pt x="6265328" y="2225676"/>
                </a:cubicBezTo>
                <a:cubicBezTo>
                  <a:pt x="6738243" y="2019301"/>
                  <a:pt x="7211157" y="1816101"/>
                  <a:pt x="7684072" y="1616076"/>
                </a:cubicBezTo>
                <a:cubicBezTo>
                  <a:pt x="7985595" y="1485901"/>
                  <a:pt x="8274422" y="1336676"/>
                  <a:pt x="8534684" y="1139826"/>
                </a:cubicBezTo>
                <a:cubicBezTo>
                  <a:pt x="8829859" y="920751"/>
                  <a:pt x="9074251" y="660401"/>
                  <a:pt x="9242469" y="330201"/>
                </a:cubicBezTo>
                <a:cubicBezTo>
                  <a:pt x="9290078" y="231776"/>
                  <a:pt x="9324991" y="130176"/>
                  <a:pt x="9366252" y="28576"/>
                </a:cubicBezTo>
                <a:cubicBezTo>
                  <a:pt x="9369426" y="19051"/>
                  <a:pt x="9369426" y="9526"/>
                  <a:pt x="9372600" y="1"/>
                </a:cubicBezTo>
                <a:cubicBezTo>
                  <a:pt x="6249458" y="1"/>
                  <a:pt x="3123142"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3">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lang="pt-PT" sz="1600" kern="1200" dirty="0">
                <a:solidFill>
                  <a:srgbClr val="0070AD"/>
                </a:solidFill>
                <a:latin typeface="+mn-lt"/>
                <a:ea typeface="+mn-ea"/>
                <a:cs typeface="+mn-cs"/>
              </a:defRPr>
            </a:lvl1pPr>
            <a:lvl2pPr>
              <a:defRPr sz="1600">
                <a:solidFill>
                  <a:schemeClr val="bg1"/>
                </a:solidFill>
              </a:defRPr>
            </a:lvl2pPr>
          </a:lstStyle>
          <a:p>
            <a:pPr marL="0" marR="0" lvl="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pPr>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
        <p:nvSpPr>
          <p:cNvPr id="5" name="Footer Placeholder 4"/>
          <p:cNvSpPr>
            <a:spLocks noGrp="1"/>
          </p:cNvSpPr>
          <p:nvPr>
            <p:ph type="ftr" sz="quarter" idx="36"/>
          </p:nvPr>
        </p:nvSpPr>
        <p:spPr/>
        <p:txBody>
          <a:bodyPr/>
          <a:lstStyle/>
          <a:p>
            <a:r>
              <a:rPr lang="en-US"/>
              <a:t>© 2018 Capgemini. All rights reserved.</a:t>
            </a:r>
            <a:endParaRPr lang="en-US" dirty="0"/>
          </a:p>
        </p:txBody>
      </p:sp>
      <p:sp>
        <p:nvSpPr>
          <p:cNvPr id="11" name="TextBoxFileName"/>
          <p:cNvSpPr>
            <a:spLocks noGrp="1"/>
          </p:cNvSpPr>
          <p:nvPr>
            <p:ph type="dt" sz="half" idx="2"/>
          </p:nvPr>
        </p:nvSpPr>
        <p:spPr>
          <a:xfrm>
            <a:off x="407988" y="6555971"/>
            <a:ext cx="2829007" cy="219456"/>
          </a:xfrm>
          <a:prstGeom prst="rect">
            <a:avLst/>
          </a:prstGeom>
        </p:spPr>
        <p:txBody>
          <a:bodyPr wrap="square" lIns="0" tIns="0" rIns="0" bIns="0" anchor="ctr" anchorCtr="0">
            <a:noAutofit/>
          </a:bodyPr>
          <a:lstStyle>
            <a:lvl1pPr>
              <a:defRPr lang="de-DE" sz="800" kern="0" smtClean="0">
                <a:solidFill>
                  <a:srgbClr val="00458D"/>
                </a:solidFill>
                <a:latin typeface="+mj-lt"/>
                <a:cs typeface="Arial" panose="020B0604020202020204" pitchFamily="34" charset="0"/>
              </a:defRPr>
            </a:lvl1pPr>
          </a:lstStyle>
          <a:p>
            <a:pPr>
              <a:lnSpc>
                <a:spcPct val="85000"/>
              </a:lnSpc>
            </a:pPr>
            <a:endParaRPr lang="en-US" dirty="0"/>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ight Big Shape and Bullet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383338" y="-1"/>
            <a:ext cx="5808661"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3" name="Footer Placeholder 2"/>
          <p:cNvSpPr>
            <a:spLocks noGrp="1"/>
          </p:cNvSpPr>
          <p:nvPr>
            <p:ph type="ftr" sz="quarter" idx="39"/>
          </p:nvPr>
        </p:nvSpPr>
        <p:spPr/>
        <p:txBody>
          <a:bodyPr/>
          <a:lstStyle/>
          <a:p>
            <a:r>
              <a:rPr lang="en-US"/>
              <a:t>© 2018 Capgemini. All rights reserved.</a:t>
            </a:r>
          </a:p>
        </p:txBody>
      </p:sp>
      <p:sp>
        <p:nvSpPr>
          <p:cNvPr id="4" name="Slide Number Placeholder 3"/>
          <p:cNvSpPr>
            <a:spLocks noGrp="1"/>
          </p:cNvSpPr>
          <p:nvPr>
            <p:ph type="sldNum" sz="quarter" idx="40"/>
          </p:nvPr>
        </p:nvSpPr>
        <p:spPr/>
        <p:txBody>
          <a:bodyPr/>
          <a:lstStyle/>
          <a:p>
            <a:pPr algn="r"/>
            <a:fld id="{DD205EFF-948D-4AF6-B54C-65639188FB5F}" type="slidenum">
              <a:rPr lang="en-US" smtClean="0"/>
              <a:pPr algn="r"/>
              <a:t>‹#›</a:t>
            </a:fld>
            <a:endParaRPr lang="en-US"/>
          </a:p>
        </p:txBody>
      </p:sp>
      <p:sp>
        <p:nvSpPr>
          <p:cNvPr id="5" name="Title 4"/>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980789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 name="Footer Placeholder 2"/>
          <p:cNvSpPr>
            <a:spLocks noGrp="1"/>
          </p:cNvSpPr>
          <p:nvPr>
            <p:ph type="ftr" sz="quarter" idx="37"/>
          </p:nvPr>
        </p:nvSpPr>
        <p:spPr/>
        <p:txBody>
          <a:bodyPr/>
          <a:lstStyle/>
          <a:p>
            <a:r>
              <a:rPr lang="en-US"/>
              <a:t>© 2018 Capgemini. All rights reserved.</a:t>
            </a:r>
          </a:p>
        </p:txBody>
      </p:sp>
      <p:sp>
        <p:nvSpPr>
          <p:cNvPr id="4" name="Slide Number Placeholder 3"/>
          <p:cNvSpPr>
            <a:spLocks noGrp="1"/>
          </p:cNvSpPr>
          <p:nvPr>
            <p:ph type="sldNum" sz="quarter" idx="38"/>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27726636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4 (with image)">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9" name="Freeform 8"/>
          <p:cNvSpPr>
            <a:spLocks/>
          </p:cNvSpPr>
          <p:nvPr userDrawn="1"/>
        </p:nvSpPr>
        <p:spPr bwMode="auto">
          <a:xfrm rot="16200000" flipH="1">
            <a:off x="6452111" y="-68077"/>
            <a:ext cx="5668785" cy="5804940"/>
          </a:xfrm>
          <a:custGeom>
            <a:avLst/>
            <a:gdLst>
              <a:gd name="connsiteX0" fmla="*/ 0 w 5668785"/>
              <a:gd name="connsiteY0" fmla="*/ 1025493 h 5804940"/>
              <a:gd name="connsiteX1" fmla="*/ 0 w 5668785"/>
              <a:gd name="connsiteY1" fmla="*/ 5780147 h 5804940"/>
              <a:gd name="connsiteX2" fmla="*/ 0 w 5668785"/>
              <a:gd name="connsiteY2" fmla="*/ 5804940 h 5804940"/>
              <a:gd name="connsiteX3" fmla="*/ 4356105 w 5668785"/>
              <a:gd name="connsiteY3" fmla="*/ 5804940 h 5804940"/>
              <a:gd name="connsiteX4" fmla="*/ 4387147 w 5668785"/>
              <a:gd name="connsiteY4" fmla="*/ 5753960 h 5804940"/>
              <a:gd name="connsiteX5" fmla="*/ 4144239 w 5668785"/>
              <a:gd name="connsiteY5" fmla="*/ 0 h 5804940"/>
              <a:gd name="connsiteX6" fmla="*/ 0 w 5668785"/>
              <a:gd name="connsiteY6" fmla="*/ 1025493 h 58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785" h="5804940">
                <a:moveTo>
                  <a:pt x="0" y="1025493"/>
                </a:moveTo>
                <a:cubicBezTo>
                  <a:pt x="0" y="3841436"/>
                  <a:pt x="0" y="5161410"/>
                  <a:pt x="0" y="5780147"/>
                </a:cubicBezTo>
                <a:lnTo>
                  <a:pt x="0" y="5804940"/>
                </a:lnTo>
                <a:lnTo>
                  <a:pt x="4356105" y="5804940"/>
                </a:lnTo>
                <a:lnTo>
                  <a:pt x="4387147" y="5753960"/>
                </a:lnTo>
                <a:cubicBezTo>
                  <a:pt x="6056693" y="2965876"/>
                  <a:pt x="6215804" y="1252733"/>
                  <a:pt x="4144239" y="0"/>
                </a:cubicBezTo>
                <a:cubicBezTo>
                  <a:pt x="1739338" y="1309612"/>
                  <a:pt x="572384" y="1318491"/>
                  <a:pt x="0" y="1025493"/>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612050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724810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tx2"/>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298095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bg2">
              <a:lumMod val="90000"/>
            </a:schemeClr>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3191731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8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4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6" imgW="270" imgH="270" progId="TCLayout.ActiveDocument.1">
                  <p:embed/>
                </p:oleObj>
              </mc:Choice>
              <mc:Fallback>
                <p:oleObj name="think-cell Slide" r:id="rId46" imgW="270" imgH="270" progId="TCLayout.ActiveDocument.1">
                  <p:embed/>
                  <p:pic>
                    <p:nvPicPr>
                      <p:cNvPr id="31" name="Object 30" hidden="1"/>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8">
            <a:extLst>
              <a:ext uri="{96DAC541-7B7A-43D3-8B79-37D633B846F1}">
                <asvg:svgBlip xmlns:asvg="http://schemas.microsoft.com/office/drawing/2016/SVG/main" r:embed="rId4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8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it-IT" sz="800">
                <a:solidFill>
                  <a:schemeClr val="bg1">
                    <a:lumMod val="50000"/>
                  </a:schemeClr>
                </a:solidFill>
              </a:rPr>
              <a:t>Cloud (002).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err="1"/>
              <a:t>Capgemini</a:t>
            </a:r>
            <a:r>
              <a:rPr lang="en-US" dirty="0"/>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58" r:id="rId1"/>
    <p:sldLayoutId id="2147483834" r:id="rId2"/>
    <p:sldLayoutId id="2147483790" r:id="rId3"/>
    <p:sldLayoutId id="2147483721" r:id="rId4"/>
    <p:sldLayoutId id="2147483810" r:id="rId5"/>
    <p:sldLayoutId id="2147483720" r:id="rId6"/>
    <p:sldLayoutId id="2147483817" r:id="rId7"/>
    <p:sldLayoutId id="2147483831" r:id="rId8"/>
    <p:sldLayoutId id="2147483835" r:id="rId9"/>
    <p:sldLayoutId id="2147483813" r:id="rId10"/>
    <p:sldLayoutId id="2147483816" r:id="rId11"/>
    <p:sldLayoutId id="2147483814" r:id="rId12"/>
    <p:sldLayoutId id="2147483815" r:id="rId13"/>
    <p:sldLayoutId id="2147483734" r:id="rId14"/>
    <p:sldLayoutId id="2147483735" r:id="rId15"/>
    <p:sldLayoutId id="2147483827" r:id="rId16"/>
    <p:sldLayoutId id="2147483829" r:id="rId17"/>
    <p:sldLayoutId id="2147483798" r:id="rId18"/>
    <p:sldLayoutId id="2147483672" r:id="rId19"/>
    <p:sldLayoutId id="2147483811" r:id="rId20"/>
    <p:sldLayoutId id="2147483666" r:id="rId21"/>
    <p:sldLayoutId id="2147483832" r:id="rId22"/>
    <p:sldLayoutId id="2147483837" r:id="rId23"/>
    <p:sldLayoutId id="2147483786" r:id="rId24"/>
    <p:sldLayoutId id="2147483779" r:id="rId25"/>
    <p:sldLayoutId id="2147483722" r:id="rId26"/>
    <p:sldLayoutId id="2147483733" r:id="rId27"/>
    <p:sldLayoutId id="2147483791" r:id="rId28"/>
    <p:sldLayoutId id="2147483731" r:id="rId29"/>
    <p:sldLayoutId id="2147483795" r:id="rId30"/>
    <p:sldLayoutId id="2147483732" r:id="rId31"/>
    <p:sldLayoutId id="2147483836" r:id="rId32"/>
    <p:sldLayoutId id="2147483739" r:id="rId33"/>
    <p:sldLayoutId id="2147483740" r:id="rId34"/>
    <p:sldLayoutId id="2147483794" r:id="rId35"/>
    <p:sldLayoutId id="2147483792" r:id="rId36"/>
    <p:sldLayoutId id="2147483796" r:id="rId37"/>
    <p:sldLayoutId id="2147483743" r:id="rId38"/>
    <p:sldLayoutId id="2147483812" r:id="rId39"/>
    <p:sldLayoutId id="2147483744" r:id="rId40"/>
    <p:sldLayoutId id="2147483746" r:id="rId41"/>
    <p:sldLayoutId id="2147483747" r:id="rId4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slideLayout" Target="../slideLayouts/slideLayout1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s>
</file>

<file path=ppt/slides/_rels/slide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3" Type="http://schemas.openxmlformats.org/officeDocument/2006/relationships/tags" Target="../tags/tag29.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slideLayout" Target="../slideLayouts/slideLayout12.xml"/><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pl-PL" dirty="0"/>
              <a:t>Cloud Basics</a:t>
            </a:r>
            <a:endParaRPr lang="en-GB" dirty="0"/>
          </a:p>
        </p:txBody>
      </p:sp>
      <p:sp>
        <p:nvSpPr>
          <p:cNvPr id="5" name="Subtitle 4"/>
          <p:cNvSpPr>
            <a:spLocks noGrp="1"/>
          </p:cNvSpPr>
          <p:nvPr>
            <p:ph type="subTitle" idx="1"/>
          </p:nvPr>
        </p:nvSpPr>
        <p:spPr/>
        <p:txBody>
          <a:bodyPr/>
          <a:lstStyle/>
          <a:p>
            <a:r>
              <a:rPr lang="pl-PL" dirty="0"/>
              <a:t>Wrocław</a:t>
            </a:r>
            <a:r>
              <a:rPr lang="en-GB" dirty="0"/>
              <a:t>, </a:t>
            </a:r>
            <a:r>
              <a:rPr lang="de-DE" dirty="0"/>
              <a:t>19</a:t>
            </a:r>
            <a:r>
              <a:rPr lang="pl-PL" dirty="0"/>
              <a:t>.0</a:t>
            </a:r>
            <a:r>
              <a:rPr lang="de-DE" dirty="0"/>
              <a:t>4</a:t>
            </a:r>
            <a:r>
              <a:rPr lang="pl-PL" dirty="0"/>
              <a:t>.20</a:t>
            </a:r>
            <a:r>
              <a:rPr lang="de-DE" dirty="0"/>
              <a:t>21</a:t>
            </a:r>
            <a:r>
              <a:rPr lang="en-GB" dirty="0"/>
              <a:t>, </a:t>
            </a:r>
            <a:r>
              <a:rPr lang="de-DE"/>
              <a:t>Krzysztof Sobkowiak</a:t>
            </a:r>
            <a:endParaRPr lang="en-GB" dirty="0"/>
          </a:p>
          <a:p>
            <a:endParaRPr lang="en-GB" dirty="0"/>
          </a:p>
        </p:txBody>
      </p:sp>
    </p:spTree>
    <p:extLst>
      <p:ext uri="{BB962C8B-B14F-4D97-AF65-F5344CB8AC3E}">
        <p14:creationId xmlns:p14="http://schemas.microsoft.com/office/powerpoint/2010/main" val="1694368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dirty="0"/>
              <a:t>SaaS</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10</a:t>
            </a:fld>
            <a:endParaRPr lang="en-US" dirty="0"/>
          </a:p>
        </p:txBody>
      </p:sp>
      <p:sp>
        <p:nvSpPr>
          <p:cNvPr id="7" name="Rectangle 6">
            <a:extLst>
              <a:ext uri="{FF2B5EF4-FFF2-40B4-BE49-F238E27FC236}">
                <a16:creationId xmlns:a16="http://schemas.microsoft.com/office/drawing/2014/main" id="{27EEF396-06F2-4CFD-B9DA-AA5618F5E257}"/>
              </a:ext>
            </a:extLst>
          </p:cNvPr>
          <p:cNvSpPr/>
          <p:nvPr/>
        </p:nvSpPr>
        <p:spPr>
          <a:xfrm>
            <a:off x="4439816" y="2132859"/>
            <a:ext cx="2829568" cy="461948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8" name="Rectangle 7">
            <a:extLst>
              <a:ext uri="{FF2B5EF4-FFF2-40B4-BE49-F238E27FC236}">
                <a16:creationId xmlns:a16="http://schemas.microsoft.com/office/drawing/2014/main" id="{CDF56487-48DC-4AFF-8977-7A87C0E8553D}"/>
              </a:ext>
            </a:extLst>
          </p:cNvPr>
          <p:cNvSpPr/>
          <p:nvPr/>
        </p:nvSpPr>
        <p:spPr>
          <a:xfrm>
            <a:off x="4804826" y="6245186"/>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Networking</a:t>
            </a:r>
            <a:endParaRPr lang="de-DE" sz="1400" dirty="0">
              <a:solidFill>
                <a:schemeClr val="tx1"/>
              </a:solidFill>
            </a:endParaRPr>
          </a:p>
        </p:txBody>
      </p:sp>
      <p:sp>
        <p:nvSpPr>
          <p:cNvPr id="9" name="Rectangle 8">
            <a:extLst>
              <a:ext uri="{FF2B5EF4-FFF2-40B4-BE49-F238E27FC236}">
                <a16:creationId xmlns:a16="http://schemas.microsoft.com/office/drawing/2014/main" id="{AC9EB77E-F459-40AD-976C-58991321189A}"/>
              </a:ext>
            </a:extLst>
          </p:cNvPr>
          <p:cNvSpPr/>
          <p:nvPr/>
        </p:nvSpPr>
        <p:spPr>
          <a:xfrm>
            <a:off x="4822005" y="5766224"/>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Storage</a:t>
            </a:r>
            <a:endParaRPr lang="de-DE" sz="1400" dirty="0">
              <a:solidFill>
                <a:schemeClr val="tx1"/>
              </a:solidFill>
            </a:endParaRPr>
          </a:p>
        </p:txBody>
      </p:sp>
      <p:sp>
        <p:nvSpPr>
          <p:cNvPr id="10" name="Rectangle 9">
            <a:extLst>
              <a:ext uri="{FF2B5EF4-FFF2-40B4-BE49-F238E27FC236}">
                <a16:creationId xmlns:a16="http://schemas.microsoft.com/office/drawing/2014/main" id="{DAC3790D-A865-419F-811D-F33CC7728D06}"/>
              </a:ext>
            </a:extLst>
          </p:cNvPr>
          <p:cNvSpPr/>
          <p:nvPr/>
        </p:nvSpPr>
        <p:spPr>
          <a:xfrm>
            <a:off x="4804826" y="5290885"/>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Servers</a:t>
            </a:r>
            <a:endParaRPr lang="de-DE" sz="1400" dirty="0">
              <a:solidFill>
                <a:schemeClr val="tx1"/>
              </a:solidFill>
            </a:endParaRPr>
          </a:p>
        </p:txBody>
      </p:sp>
      <p:sp>
        <p:nvSpPr>
          <p:cNvPr id="11" name="Rectangle 10">
            <a:extLst>
              <a:ext uri="{FF2B5EF4-FFF2-40B4-BE49-F238E27FC236}">
                <a16:creationId xmlns:a16="http://schemas.microsoft.com/office/drawing/2014/main" id="{36668FC1-1386-40DD-8BD9-07F3AED013D5}"/>
              </a:ext>
            </a:extLst>
          </p:cNvPr>
          <p:cNvSpPr/>
          <p:nvPr/>
        </p:nvSpPr>
        <p:spPr>
          <a:xfrm>
            <a:off x="4804826" y="4817343"/>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Virtualization</a:t>
            </a:r>
            <a:endParaRPr lang="de-DE" sz="1400" dirty="0">
              <a:solidFill>
                <a:schemeClr val="tx1"/>
              </a:solidFill>
            </a:endParaRPr>
          </a:p>
        </p:txBody>
      </p:sp>
      <p:sp>
        <p:nvSpPr>
          <p:cNvPr id="12" name="Rectangle 11">
            <a:extLst>
              <a:ext uri="{FF2B5EF4-FFF2-40B4-BE49-F238E27FC236}">
                <a16:creationId xmlns:a16="http://schemas.microsoft.com/office/drawing/2014/main" id="{30E777F7-9E8D-46C0-B51C-C70AE407A94D}"/>
              </a:ext>
            </a:extLst>
          </p:cNvPr>
          <p:cNvSpPr/>
          <p:nvPr/>
        </p:nvSpPr>
        <p:spPr>
          <a:xfrm>
            <a:off x="4829881" y="2839891"/>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Data</a:t>
            </a:r>
            <a:endParaRPr lang="de-DE" sz="1400" dirty="0">
              <a:solidFill>
                <a:schemeClr val="tx1"/>
              </a:solidFill>
            </a:endParaRPr>
          </a:p>
        </p:txBody>
      </p:sp>
      <p:sp>
        <p:nvSpPr>
          <p:cNvPr id="13" name="Rectangle 12">
            <a:extLst>
              <a:ext uri="{FF2B5EF4-FFF2-40B4-BE49-F238E27FC236}">
                <a16:creationId xmlns:a16="http://schemas.microsoft.com/office/drawing/2014/main" id="{524809E4-C709-4B0C-A361-D1B010F6B2B9}"/>
              </a:ext>
            </a:extLst>
          </p:cNvPr>
          <p:cNvSpPr/>
          <p:nvPr/>
        </p:nvSpPr>
        <p:spPr>
          <a:xfrm>
            <a:off x="4822005" y="3313885"/>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Runtime</a:t>
            </a:r>
            <a:endParaRPr lang="de-DE" sz="1400" dirty="0">
              <a:solidFill>
                <a:schemeClr val="tx1"/>
              </a:solidFill>
            </a:endParaRPr>
          </a:p>
        </p:txBody>
      </p:sp>
      <p:sp>
        <p:nvSpPr>
          <p:cNvPr id="14" name="Rectangle 13">
            <a:extLst>
              <a:ext uri="{FF2B5EF4-FFF2-40B4-BE49-F238E27FC236}">
                <a16:creationId xmlns:a16="http://schemas.microsoft.com/office/drawing/2014/main" id="{ADCF16DA-FA6C-4F0C-849E-E86780E0DE80}"/>
              </a:ext>
            </a:extLst>
          </p:cNvPr>
          <p:cNvSpPr/>
          <p:nvPr/>
        </p:nvSpPr>
        <p:spPr>
          <a:xfrm>
            <a:off x="4801425" y="3823141"/>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Middleware</a:t>
            </a:r>
            <a:endParaRPr lang="de-DE" sz="1400" dirty="0">
              <a:solidFill>
                <a:schemeClr val="tx1"/>
              </a:solidFill>
            </a:endParaRPr>
          </a:p>
        </p:txBody>
      </p:sp>
      <p:sp>
        <p:nvSpPr>
          <p:cNvPr id="15" name="Rectangle 14">
            <a:extLst>
              <a:ext uri="{FF2B5EF4-FFF2-40B4-BE49-F238E27FC236}">
                <a16:creationId xmlns:a16="http://schemas.microsoft.com/office/drawing/2014/main" id="{4E5F23DC-963A-4C4D-97E2-9C043D979675}"/>
              </a:ext>
            </a:extLst>
          </p:cNvPr>
          <p:cNvSpPr/>
          <p:nvPr/>
        </p:nvSpPr>
        <p:spPr>
          <a:xfrm>
            <a:off x="4804002" y="4303057"/>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Operating System</a:t>
            </a:r>
            <a:endParaRPr lang="de-DE" sz="1400" dirty="0">
              <a:solidFill>
                <a:schemeClr val="tx1"/>
              </a:solidFill>
            </a:endParaRPr>
          </a:p>
        </p:txBody>
      </p:sp>
      <p:sp>
        <p:nvSpPr>
          <p:cNvPr id="16" name="Rectangle 15">
            <a:extLst>
              <a:ext uri="{FF2B5EF4-FFF2-40B4-BE49-F238E27FC236}">
                <a16:creationId xmlns:a16="http://schemas.microsoft.com/office/drawing/2014/main" id="{2E964FCB-1142-495C-AB49-FB427410424C}"/>
              </a:ext>
            </a:extLst>
          </p:cNvPr>
          <p:cNvSpPr/>
          <p:nvPr/>
        </p:nvSpPr>
        <p:spPr>
          <a:xfrm>
            <a:off x="4822005" y="2362741"/>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Applications</a:t>
            </a:r>
            <a:endParaRPr lang="de-DE" sz="1400" dirty="0">
              <a:solidFill>
                <a:schemeClr val="tx1"/>
              </a:solidFill>
            </a:endParaRPr>
          </a:p>
        </p:txBody>
      </p:sp>
      <p:sp>
        <p:nvSpPr>
          <p:cNvPr id="19" name="TextBox 18">
            <a:extLst>
              <a:ext uri="{FF2B5EF4-FFF2-40B4-BE49-F238E27FC236}">
                <a16:creationId xmlns:a16="http://schemas.microsoft.com/office/drawing/2014/main" id="{057603E7-4A3B-4EA1-BBC1-B9F4C0566BD7}"/>
              </a:ext>
            </a:extLst>
          </p:cNvPr>
          <p:cNvSpPr txBox="1"/>
          <p:nvPr/>
        </p:nvSpPr>
        <p:spPr>
          <a:xfrm rot="16200000">
            <a:off x="3484375" y="4288714"/>
            <a:ext cx="930319" cy="307777"/>
          </a:xfrm>
          <a:prstGeom prst="rect">
            <a:avLst/>
          </a:prstGeom>
          <a:noFill/>
        </p:spPr>
        <p:txBody>
          <a:bodyPr wrap="none" rtlCol="0">
            <a:spAutoFit/>
          </a:bodyPr>
          <a:lstStyle/>
          <a:p>
            <a:r>
              <a:rPr lang="pl-PL" sz="1400" dirty="0"/>
              <a:t>Provider</a:t>
            </a:r>
            <a:endParaRPr lang="de-DE" sz="1400" dirty="0"/>
          </a:p>
        </p:txBody>
      </p:sp>
      <p:sp>
        <p:nvSpPr>
          <p:cNvPr id="20" name="TextBox 19">
            <a:extLst>
              <a:ext uri="{FF2B5EF4-FFF2-40B4-BE49-F238E27FC236}">
                <a16:creationId xmlns:a16="http://schemas.microsoft.com/office/drawing/2014/main" id="{DE1B6367-B856-485C-BB2F-78618A0A56BF}"/>
              </a:ext>
            </a:extLst>
          </p:cNvPr>
          <p:cNvSpPr txBox="1"/>
          <p:nvPr/>
        </p:nvSpPr>
        <p:spPr>
          <a:xfrm>
            <a:off x="479376" y="1052736"/>
            <a:ext cx="9721080" cy="954107"/>
          </a:xfrm>
          <a:prstGeom prst="rect">
            <a:avLst/>
          </a:prstGeom>
          <a:noFill/>
        </p:spPr>
        <p:txBody>
          <a:bodyPr wrap="square" rtlCol="0">
            <a:spAutoFit/>
          </a:bodyPr>
          <a:lstStyle/>
          <a:p>
            <a:pPr marL="285750" indent="-285750">
              <a:buFont typeface="Arial" panose="020B0604020202020204" pitchFamily="34" charset="0"/>
              <a:buChar char="•"/>
            </a:pPr>
            <a:r>
              <a:rPr lang="pl-PL" sz="1400" dirty="0"/>
              <a:t>Use provider applications running on a cloud infrastructure</a:t>
            </a:r>
          </a:p>
          <a:p>
            <a:pPr marL="285750" indent="-285750">
              <a:buFont typeface="Arial" panose="020B0604020202020204" pitchFamily="34" charset="0"/>
              <a:buChar char="•"/>
            </a:pPr>
            <a:r>
              <a:rPr lang="pl-PL" sz="1400" dirty="0"/>
              <a:t>Applications are accessible from various client devices</a:t>
            </a:r>
          </a:p>
          <a:p>
            <a:pPr marL="285750" indent="-285750">
              <a:buFont typeface="Arial" panose="020B0604020202020204" pitchFamily="34" charset="0"/>
              <a:buChar char="•"/>
            </a:pPr>
            <a:r>
              <a:rPr lang="pl-PL" sz="1400" dirty="0"/>
              <a:t>Customer does not manage or control the underlying cloud infrastructure</a:t>
            </a:r>
          </a:p>
          <a:p>
            <a:pPr marL="285750" indent="-285750">
              <a:buFont typeface="Arial" panose="020B0604020202020204" pitchFamily="34" charset="0"/>
              <a:buChar char="•"/>
            </a:pPr>
            <a:r>
              <a:rPr lang="pl-PL" sz="1400" dirty="0"/>
              <a:t>Applications may run partially or completely in the provider environment</a:t>
            </a:r>
            <a:endParaRPr lang="de-DE" sz="1400" dirty="0"/>
          </a:p>
        </p:txBody>
      </p:sp>
      <p:pic>
        <p:nvPicPr>
          <p:cNvPr id="3" name="Picture 2">
            <a:extLst>
              <a:ext uri="{FF2B5EF4-FFF2-40B4-BE49-F238E27FC236}">
                <a16:creationId xmlns:a16="http://schemas.microsoft.com/office/drawing/2014/main" id="{AE6F7769-314A-4A7F-A0EB-C0AB4B83EC50}"/>
              </a:ext>
            </a:extLst>
          </p:cNvPr>
          <p:cNvPicPr>
            <a:picLocks noChangeAspect="1"/>
          </p:cNvPicPr>
          <p:nvPr/>
        </p:nvPicPr>
        <p:blipFill>
          <a:blip r:embed="rId2"/>
          <a:stretch>
            <a:fillRect/>
          </a:stretch>
        </p:blipFill>
        <p:spPr>
          <a:xfrm>
            <a:off x="9624392" y="1952446"/>
            <a:ext cx="1229494" cy="1445669"/>
          </a:xfrm>
          <a:prstGeom prst="rect">
            <a:avLst/>
          </a:prstGeom>
        </p:spPr>
      </p:pic>
      <p:pic>
        <p:nvPicPr>
          <p:cNvPr id="6" name="Picture 5">
            <a:extLst>
              <a:ext uri="{FF2B5EF4-FFF2-40B4-BE49-F238E27FC236}">
                <a16:creationId xmlns:a16="http://schemas.microsoft.com/office/drawing/2014/main" id="{FDF57BB3-394F-4A50-AB34-53E3CA939EC5}"/>
              </a:ext>
            </a:extLst>
          </p:cNvPr>
          <p:cNvPicPr>
            <a:picLocks noChangeAspect="1"/>
          </p:cNvPicPr>
          <p:nvPr/>
        </p:nvPicPr>
        <p:blipFill>
          <a:blip r:embed="rId3"/>
          <a:stretch>
            <a:fillRect/>
          </a:stretch>
        </p:blipFill>
        <p:spPr>
          <a:xfrm>
            <a:off x="9536000" y="3673925"/>
            <a:ext cx="1406277" cy="1486428"/>
          </a:xfrm>
          <a:prstGeom prst="rect">
            <a:avLst/>
          </a:prstGeom>
        </p:spPr>
      </p:pic>
    </p:spTree>
    <p:extLst>
      <p:ext uri="{BB962C8B-B14F-4D97-AF65-F5344CB8AC3E}">
        <p14:creationId xmlns:p14="http://schemas.microsoft.com/office/powerpoint/2010/main" val="31958984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dirty="0"/>
              <a:t>Cloud Deployment Models</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11</a:t>
            </a:fld>
            <a:endParaRPr lang="en-US" dirty="0"/>
          </a:p>
        </p:txBody>
      </p:sp>
      <p:graphicFrame>
        <p:nvGraphicFramePr>
          <p:cNvPr id="6" name="Diagram 5">
            <a:extLst>
              <a:ext uri="{FF2B5EF4-FFF2-40B4-BE49-F238E27FC236}">
                <a16:creationId xmlns:a16="http://schemas.microsoft.com/office/drawing/2014/main" id="{3EAC6305-D68C-477E-91A3-BBB9905CED97}"/>
              </a:ext>
            </a:extLst>
          </p:cNvPr>
          <p:cNvGraphicFramePr/>
          <p:nvPr>
            <p:extLst>
              <p:ext uri="{D42A27DB-BD31-4B8C-83A1-F6EECF244321}">
                <p14:modId xmlns:p14="http://schemas.microsoft.com/office/powerpoint/2010/main" val="2047119437"/>
              </p:ext>
            </p:extLst>
          </p:nvPr>
        </p:nvGraphicFramePr>
        <p:xfrm>
          <a:off x="2032000" y="1268414"/>
          <a:ext cx="7952432" cy="48699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79064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dirty="0"/>
              <a:t>Public Cloud</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12</a:t>
            </a:fld>
            <a:endParaRPr lang="en-US" dirty="0"/>
          </a:p>
        </p:txBody>
      </p:sp>
      <p:graphicFrame>
        <p:nvGraphicFramePr>
          <p:cNvPr id="15" name="Diagram 14">
            <a:extLst>
              <a:ext uri="{FF2B5EF4-FFF2-40B4-BE49-F238E27FC236}">
                <a16:creationId xmlns:a16="http://schemas.microsoft.com/office/drawing/2014/main" id="{A8D0F898-3820-42E5-BDAD-DE183F5C1093}"/>
              </a:ext>
            </a:extLst>
          </p:cNvPr>
          <p:cNvGraphicFramePr/>
          <p:nvPr>
            <p:extLst>
              <p:ext uri="{D42A27DB-BD31-4B8C-83A1-F6EECF244321}">
                <p14:modId xmlns:p14="http://schemas.microsoft.com/office/powerpoint/2010/main" val="189707542"/>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641615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a:t>Private Cloud</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13</a:t>
            </a:fld>
            <a:endParaRPr lang="en-US" dirty="0"/>
          </a:p>
        </p:txBody>
      </p:sp>
      <p:graphicFrame>
        <p:nvGraphicFramePr>
          <p:cNvPr id="21" name="Diagram 20">
            <a:extLst>
              <a:ext uri="{FF2B5EF4-FFF2-40B4-BE49-F238E27FC236}">
                <a16:creationId xmlns:a16="http://schemas.microsoft.com/office/drawing/2014/main" id="{2A961D7D-14F3-442C-8FE2-0CC7DFC716D0}"/>
              </a:ext>
            </a:extLst>
          </p:cNvPr>
          <p:cNvGraphicFramePr/>
          <p:nvPr>
            <p:extLst>
              <p:ext uri="{D42A27DB-BD31-4B8C-83A1-F6EECF244321}">
                <p14:modId xmlns:p14="http://schemas.microsoft.com/office/powerpoint/2010/main" val="3405246113"/>
              </p:ext>
            </p:extLst>
          </p:nvPr>
        </p:nvGraphicFramePr>
        <p:xfrm>
          <a:off x="0" y="980728"/>
          <a:ext cx="11784013" cy="58034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535728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dirty="0"/>
              <a:t>Hybrid Cloud</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14</a:t>
            </a:fld>
            <a:endParaRPr lang="en-US" dirty="0"/>
          </a:p>
        </p:txBody>
      </p:sp>
      <p:graphicFrame>
        <p:nvGraphicFramePr>
          <p:cNvPr id="6" name="Diagram 5">
            <a:extLst>
              <a:ext uri="{FF2B5EF4-FFF2-40B4-BE49-F238E27FC236}">
                <a16:creationId xmlns:a16="http://schemas.microsoft.com/office/drawing/2014/main" id="{4CD15F3E-D7F3-4B6F-A06B-0F513374F64A}"/>
              </a:ext>
            </a:extLst>
          </p:cNvPr>
          <p:cNvGraphicFramePr/>
          <p:nvPr>
            <p:extLst>
              <p:ext uri="{D42A27DB-BD31-4B8C-83A1-F6EECF244321}">
                <p14:modId xmlns:p14="http://schemas.microsoft.com/office/powerpoint/2010/main" val="2459730818"/>
              </p:ext>
            </p:extLst>
          </p:nvPr>
        </p:nvGraphicFramePr>
        <p:xfrm>
          <a:off x="623391" y="980728"/>
          <a:ext cx="11016603"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08452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dirty="0"/>
              <a:t>Community Cloud</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15</a:t>
            </a:fld>
            <a:endParaRPr lang="en-US" dirty="0"/>
          </a:p>
        </p:txBody>
      </p:sp>
      <p:graphicFrame>
        <p:nvGraphicFramePr>
          <p:cNvPr id="6" name="Diagram 5">
            <a:extLst>
              <a:ext uri="{FF2B5EF4-FFF2-40B4-BE49-F238E27FC236}">
                <a16:creationId xmlns:a16="http://schemas.microsoft.com/office/drawing/2014/main" id="{DDAB251D-F420-4AA0-9EF0-0D2FC1C376BE}"/>
              </a:ext>
            </a:extLst>
          </p:cNvPr>
          <p:cNvGraphicFramePr/>
          <p:nvPr>
            <p:extLst>
              <p:ext uri="{D42A27DB-BD31-4B8C-83A1-F6EECF244321}">
                <p14:modId xmlns:p14="http://schemas.microsoft.com/office/powerpoint/2010/main" val="4137337227"/>
              </p:ext>
            </p:extLst>
          </p:nvPr>
        </p:nvGraphicFramePr>
        <p:xfrm>
          <a:off x="1415480" y="1052736"/>
          <a:ext cx="8744520" cy="55677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01943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A6CEF-AB07-49F0-8743-37CAB1F292D4}"/>
              </a:ext>
            </a:extLst>
          </p:cNvPr>
          <p:cNvSpPr>
            <a:spLocks noGrp="1"/>
          </p:cNvSpPr>
          <p:nvPr>
            <p:ph type="title"/>
          </p:nvPr>
        </p:nvSpPr>
        <p:spPr/>
        <p:txBody>
          <a:bodyPr/>
          <a:lstStyle/>
          <a:p>
            <a:r>
              <a:rPr lang="pl-PL" dirty="0"/>
              <a:t>Cloud disadvantages</a:t>
            </a:r>
            <a:endParaRPr lang="de-DE" dirty="0"/>
          </a:p>
        </p:txBody>
      </p:sp>
      <p:sp>
        <p:nvSpPr>
          <p:cNvPr id="3" name="Text Placeholder 2">
            <a:extLst>
              <a:ext uri="{FF2B5EF4-FFF2-40B4-BE49-F238E27FC236}">
                <a16:creationId xmlns:a16="http://schemas.microsoft.com/office/drawing/2014/main" id="{40129D57-0D13-41FA-B69E-62C7477F1B8A}"/>
              </a:ext>
            </a:extLst>
          </p:cNvPr>
          <p:cNvSpPr>
            <a:spLocks noGrp="1"/>
          </p:cNvSpPr>
          <p:nvPr>
            <p:ph type="body" sz="quarter" idx="13"/>
          </p:nvPr>
        </p:nvSpPr>
        <p:spPr/>
        <p:txBody>
          <a:bodyPr/>
          <a:lstStyle/>
          <a:p>
            <a:r>
              <a:rPr lang="pl-PL" sz="2400" b="1" dirty="0"/>
              <a:t>Limited control</a:t>
            </a:r>
          </a:p>
          <a:p>
            <a:pPr marL="285750" indent="-285750">
              <a:buFont typeface="Arial" panose="020B0604020202020204" pitchFamily="34" charset="0"/>
              <a:buChar char="•"/>
            </a:pPr>
            <a:r>
              <a:rPr lang="pl-PL" dirty="0"/>
              <a:t>C</a:t>
            </a:r>
            <a:r>
              <a:rPr lang="en-US" dirty="0"/>
              <a:t>loud infrastructure is entirely owned, managed and monitored by the service provider</a:t>
            </a:r>
            <a:endParaRPr lang="pl-PL" dirty="0"/>
          </a:p>
          <a:p>
            <a:pPr marL="285750" indent="-285750">
              <a:buFont typeface="Arial" panose="020B0604020202020204" pitchFamily="34" charset="0"/>
              <a:buChar char="•"/>
            </a:pPr>
            <a:r>
              <a:rPr lang="en-US" dirty="0"/>
              <a:t>The customer can only control and manage the applications, data and services operated on top of that, not the backend infrastructure itself</a:t>
            </a:r>
            <a:endParaRPr lang="pl-PL" dirty="0"/>
          </a:p>
          <a:p>
            <a:pPr marL="285750" indent="-285750">
              <a:buFont typeface="Arial" panose="020B0604020202020204" pitchFamily="34" charset="0"/>
              <a:buChar char="•"/>
            </a:pPr>
            <a:r>
              <a:rPr lang="en-US" dirty="0"/>
              <a:t>Key administrative tasks such as server shell access, updating and firmware management may not be passed to the customer or end user</a:t>
            </a:r>
            <a:endParaRPr lang="pl-PL" dirty="0"/>
          </a:p>
          <a:p>
            <a:endParaRPr lang="pl-PL" dirty="0"/>
          </a:p>
          <a:p>
            <a:r>
              <a:rPr lang="de-DE" sz="2400" b="1" dirty="0"/>
              <a:t>Vendor Lock-In</a:t>
            </a:r>
          </a:p>
          <a:p>
            <a:pPr marL="285750" indent="-285750">
              <a:buFont typeface="Arial" panose="020B0604020202020204" pitchFamily="34" charset="0"/>
              <a:buChar char="•"/>
            </a:pPr>
            <a:r>
              <a:rPr lang="pl-PL" dirty="0"/>
              <a:t>S</a:t>
            </a:r>
            <a:r>
              <a:rPr lang="en-US" dirty="0"/>
              <a:t>witching cloud services is something that hasn’t yet completely evolved</a:t>
            </a:r>
            <a:endParaRPr lang="pl-PL" dirty="0"/>
          </a:p>
          <a:p>
            <a:pPr marL="285750" indent="-285750">
              <a:buFont typeface="Arial" panose="020B0604020202020204" pitchFamily="34" charset="0"/>
              <a:buChar char="•"/>
            </a:pPr>
            <a:r>
              <a:rPr lang="en-US" dirty="0"/>
              <a:t>Organizations may find it difficult to migrate their services from one vendor to another</a:t>
            </a:r>
            <a:endParaRPr lang="pl-PL" dirty="0"/>
          </a:p>
          <a:p>
            <a:pPr marL="285750" indent="-285750">
              <a:buFont typeface="Arial" panose="020B0604020202020204" pitchFamily="34" charset="0"/>
              <a:buChar char="•"/>
            </a:pPr>
            <a:r>
              <a:rPr lang="en-US" dirty="0"/>
              <a:t>Hosting and integrating current cloud applications on another platform may throw up interoperability and support issues</a:t>
            </a:r>
            <a:endParaRPr lang="pl-PL" dirty="0"/>
          </a:p>
          <a:p>
            <a:endParaRPr lang="pl-PL" sz="1200" b="1" dirty="0"/>
          </a:p>
          <a:p>
            <a:r>
              <a:rPr lang="de-DE" sz="2400" b="1" dirty="0"/>
              <a:t>Security</a:t>
            </a:r>
            <a:endParaRPr lang="pl-PL" sz="2400" b="1" dirty="0"/>
          </a:p>
          <a:p>
            <a:pPr marL="285750" indent="-285750">
              <a:buFont typeface="Arial" panose="020B0604020202020204" pitchFamily="34" charset="0"/>
              <a:buChar char="•"/>
            </a:pPr>
            <a:r>
              <a:rPr lang="pl-PL" dirty="0"/>
              <a:t>Y</a:t>
            </a:r>
            <a:r>
              <a:rPr lang="en-US" dirty="0" err="1"/>
              <a:t>ou</a:t>
            </a:r>
            <a:r>
              <a:rPr lang="en-US" dirty="0"/>
              <a:t> need to provide your service provider with access to important business data</a:t>
            </a:r>
            <a:endParaRPr lang="de-DE" dirty="0"/>
          </a:p>
          <a:p>
            <a:pPr marL="285750" indent="-285750">
              <a:buFont typeface="Arial" panose="020B0604020202020204" pitchFamily="34" charset="0"/>
              <a:buChar char="•"/>
            </a:pPr>
            <a:r>
              <a:rPr lang="pl-PL" dirty="0"/>
              <a:t>I</a:t>
            </a:r>
            <a:r>
              <a:rPr lang="en-US" dirty="0"/>
              <a:t>n a multi-tenant cloud architecture where multiple users are hosted on the same server, a hacker might try to break into the data of other users hosted and stored on the same server</a:t>
            </a:r>
            <a:endParaRPr lang="de-DE" dirty="0"/>
          </a:p>
        </p:txBody>
      </p:sp>
      <p:sp>
        <p:nvSpPr>
          <p:cNvPr id="4" name="Footer Placeholder 3">
            <a:extLst>
              <a:ext uri="{FF2B5EF4-FFF2-40B4-BE49-F238E27FC236}">
                <a16:creationId xmlns:a16="http://schemas.microsoft.com/office/drawing/2014/main" id="{FF3C48AD-FD02-4987-9DC3-0E77E08DBE5D}"/>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BB2E7266-B718-4403-8A3A-5891B45BF5F7}"/>
              </a:ext>
            </a:extLst>
          </p:cNvPr>
          <p:cNvSpPr>
            <a:spLocks noGrp="1"/>
          </p:cNvSpPr>
          <p:nvPr>
            <p:ph type="sldNum" sz="quarter" idx="16"/>
          </p:nvPr>
        </p:nvSpPr>
        <p:spPr/>
        <p:txBody>
          <a:bodyPr/>
          <a:lstStyle/>
          <a:p>
            <a:fld id="{DD205EFF-948D-4AF6-B54C-65639188FB5F}" type="slidenum">
              <a:rPr lang="en-US" smtClean="0"/>
              <a:pPr/>
              <a:t>16</a:t>
            </a:fld>
            <a:endParaRPr lang="en-US" dirty="0"/>
          </a:p>
        </p:txBody>
      </p:sp>
    </p:spTree>
    <p:extLst>
      <p:ext uri="{BB962C8B-B14F-4D97-AF65-F5344CB8AC3E}">
        <p14:creationId xmlns:p14="http://schemas.microsoft.com/office/powerpoint/2010/main" val="4071328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0622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05F47-0B5D-4CFD-8685-961FF0A1CFC2}"/>
              </a:ext>
            </a:extLst>
          </p:cNvPr>
          <p:cNvSpPr>
            <a:spLocks noGrp="1"/>
          </p:cNvSpPr>
          <p:nvPr>
            <p:ph type="title"/>
          </p:nvPr>
        </p:nvSpPr>
        <p:spPr/>
        <p:txBody>
          <a:bodyPr/>
          <a:lstStyle/>
          <a:p>
            <a:r>
              <a:rPr lang="pl-PL" dirty="0"/>
              <a:t>Cloud –</a:t>
            </a:r>
            <a:r>
              <a:rPr lang="pl-PL" sz="2800" dirty="0"/>
              <a:t>NISC (National Institute of Standard and Technology) </a:t>
            </a:r>
            <a:endParaRPr lang="pl-PL" dirty="0"/>
          </a:p>
        </p:txBody>
      </p:sp>
      <p:sp>
        <p:nvSpPr>
          <p:cNvPr id="3" name="Footer Placeholder 2">
            <a:extLst>
              <a:ext uri="{FF2B5EF4-FFF2-40B4-BE49-F238E27FC236}">
                <a16:creationId xmlns:a16="http://schemas.microsoft.com/office/drawing/2014/main" id="{61119211-F58C-43FC-B764-AC0B00556A2E}"/>
              </a:ext>
            </a:extLst>
          </p:cNvPr>
          <p:cNvSpPr>
            <a:spLocks noGrp="1"/>
          </p:cNvSpPr>
          <p:nvPr>
            <p:ph type="ftr" sz="quarter" idx="11"/>
          </p:nvPr>
        </p:nvSpPr>
        <p:spPr/>
        <p:txBody>
          <a:bodyPr/>
          <a:lstStyle/>
          <a:p>
            <a:r>
              <a:rPr lang="en-US"/>
              <a:t>© 2018 Capgemini. All rights reserved.</a:t>
            </a:r>
            <a:endParaRPr lang="en-US" dirty="0"/>
          </a:p>
        </p:txBody>
      </p:sp>
      <p:sp>
        <p:nvSpPr>
          <p:cNvPr id="4" name="Slide Number Placeholder 3">
            <a:extLst>
              <a:ext uri="{FF2B5EF4-FFF2-40B4-BE49-F238E27FC236}">
                <a16:creationId xmlns:a16="http://schemas.microsoft.com/office/drawing/2014/main" id="{F546D77B-94DA-4049-AFB2-EAF9581EEB7B}"/>
              </a:ext>
            </a:extLst>
          </p:cNvPr>
          <p:cNvSpPr>
            <a:spLocks noGrp="1"/>
          </p:cNvSpPr>
          <p:nvPr>
            <p:ph type="sldNum" sz="quarter" idx="12"/>
          </p:nvPr>
        </p:nvSpPr>
        <p:spPr/>
        <p:txBody>
          <a:bodyPr/>
          <a:lstStyle/>
          <a:p>
            <a:fld id="{DD205EFF-948D-4AF6-B54C-65639188FB5F}" type="slidenum">
              <a:rPr lang="en-US" smtClean="0"/>
              <a:pPr/>
              <a:t>2</a:t>
            </a:fld>
            <a:endParaRPr lang="en-US" dirty="0"/>
          </a:p>
        </p:txBody>
      </p:sp>
      <p:sp>
        <p:nvSpPr>
          <p:cNvPr id="5" name="TextBox 4">
            <a:extLst>
              <a:ext uri="{FF2B5EF4-FFF2-40B4-BE49-F238E27FC236}">
                <a16:creationId xmlns:a16="http://schemas.microsoft.com/office/drawing/2014/main" id="{80A1BBF6-5548-436C-AFC9-37C51651C0B9}"/>
              </a:ext>
            </a:extLst>
          </p:cNvPr>
          <p:cNvSpPr txBox="1"/>
          <p:nvPr/>
        </p:nvSpPr>
        <p:spPr>
          <a:xfrm>
            <a:off x="407989" y="1268414"/>
            <a:ext cx="5688011" cy="3139321"/>
          </a:xfrm>
          <a:prstGeom prst="rect">
            <a:avLst/>
          </a:prstGeom>
          <a:noFill/>
        </p:spPr>
        <p:txBody>
          <a:bodyPr wrap="square" rtlCol="0">
            <a:spAutoFit/>
          </a:bodyPr>
          <a:lstStyle/>
          <a:p>
            <a:endParaRPr lang="en-US" b="1" i="1" dirty="0"/>
          </a:p>
          <a:p>
            <a:r>
              <a:rPr lang="en-US" i="1" dirty="0"/>
              <a:t>Cloud computing is a model for enabling ubiquitous, convenient, on-demand network access to a shared pool of configurable computing resources (e.g., networks, servers, storage, applications, and services) that can be rapidly provisioned and released with minimal management effort or service provider interaction. This cloud model is composed of five essential characteristics, three service models, and four deployment models. </a:t>
            </a:r>
          </a:p>
        </p:txBody>
      </p:sp>
      <p:graphicFrame>
        <p:nvGraphicFramePr>
          <p:cNvPr id="6" name="Diagram 5">
            <a:extLst>
              <a:ext uri="{FF2B5EF4-FFF2-40B4-BE49-F238E27FC236}">
                <a16:creationId xmlns:a16="http://schemas.microsoft.com/office/drawing/2014/main" id="{05BF8199-872C-4FC3-B83B-B530414543A1}"/>
              </a:ext>
            </a:extLst>
          </p:cNvPr>
          <p:cNvGraphicFramePr/>
          <p:nvPr>
            <p:extLst>
              <p:ext uri="{D42A27DB-BD31-4B8C-83A1-F6EECF244321}">
                <p14:modId xmlns:p14="http://schemas.microsoft.com/office/powerpoint/2010/main" val="1146037829"/>
              </p:ext>
            </p:extLst>
          </p:nvPr>
        </p:nvGraphicFramePr>
        <p:xfrm>
          <a:off x="5087888" y="1412776"/>
          <a:ext cx="8024440" cy="37003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85888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Cloud 71">
            <a:extLst>
              <a:ext uri="{FF2B5EF4-FFF2-40B4-BE49-F238E27FC236}">
                <a16:creationId xmlns:a16="http://schemas.microsoft.com/office/drawing/2014/main" id="{F446855F-3EF2-46F9-9974-75AED5CA96C5}"/>
              </a:ext>
            </a:extLst>
          </p:cNvPr>
          <p:cNvSpPr/>
          <p:nvPr/>
        </p:nvSpPr>
        <p:spPr>
          <a:xfrm>
            <a:off x="284232" y="843555"/>
            <a:ext cx="8548071" cy="5825805"/>
          </a:xfrm>
          <a:prstGeom prst="cloud">
            <a:avLst/>
          </a:prstGeom>
          <a:noFill/>
          <a:ln w="25400">
            <a:solidFill>
              <a:schemeClr val="tx2">
                <a:lumMod val="60000"/>
                <a:lumOff val="40000"/>
                <a:alpha val="37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pic>
        <p:nvPicPr>
          <p:cNvPr id="8" name="Picture 7">
            <a:extLst>
              <a:ext uri="{FF2B5EF4-FFF2-40B4-BE49-F238E27FC236}">
                <a16:creationId xmlns:a16="http://schemas.microsoft.com/office/drawing/2014/main" id="{4F69A3F0-57D0-44E4-AA09-A090FC87D340}"/>
              </a:ext>
            </a:extLst>
          </p:cNvPr>
          <p:cNvPicPr>
            <a:picLocks noChangeAspect="1"/>
          </p:cNvPicPr>
          <p:nvPr/>
        </p:nvPicPr>
        <p:blipFill>
          <a:blip r:embed="rId2"/>
          <a:stretch>
            <a:fillRect/>
          </a:stretch>
        </p:blipFill>
        <p:spPr>
          <a:xfrm>
            <a:off x="918951" y="2904811"/>
            <a:ext cx="1124099" cy="2043051"/>
          </a:xfrm>
          <a:prstGeom prst="rect">
            <a:avLst/>
          </a:prstGeom>
        </p:spPr>
      </p:pic>
      <p:pic>
        <p:nvPicPr>
          <p:cNvPr id="11" name="Picture 10">
            <a:extLst>
              <a:ext uri="{FF2B5EF4-FFF2-40B4-BE49-F238E27FC236}">
                <a16:creationId xmlns:a16="http://schemas.microsoft.com/office/drawing/2014/main" id="{EE487CAE-14B8-4EFF-997D-513C67FA872F}"/>
              </a:ext>
            </a:extLst>
          </p:cNvPr>
          <p:cNvPicPr>
            <a:picLocks noChangeAspect="1"/>
          </p:cNvPicPr>
          <p:nvPr/>
        </p:nvPicPr>
        <p:blipFill>
          <a:blip r:embed="rId3"/>
          <a:stretch>
            <a:fillRect/>
          </a:stretch>
        </p:blipFill>
        <p:spPr>
          <a:xfrm>
            <a:off x="9425057" y="1807063"/>
            <a:ext cx="847725" cy="657225"/>
          </a:xfrm>
          <a:prstGeom prst="rect">
            <a:avLst/>
          </a:prstGeom>
        </p:spPr>
      </p:pic>
      <p:pic>
        <p:nvPicPr>
          <p:cNvPr id="15" name="Picture 14">
            <a:extLst>
              <a:ext uri="{FF2B5EF4-FFF2-40B4-BE49-F238E27FC236}">
                <a16:creationId xmlns:a16="http://schemas.microsoft.com/office/drawing/2014/main" id="{DA1A4A35-FA61-4C2C-8E27-8B25BA0EBBA0}"/>
              </a:ext>
            </a:extLst>
          </p:cNvPr>
          <p:cNvPicPr>
            <a:picLocks noChangeAspect="1"/>
          </p:cNvPicPr>
          <p:nvPr/>
        </p:nvPicPr>
        <p:blipFill>
          <a:blip r:embed="rId4"/>
          <a:stretch>
            <a:fillRect/>
          </a:stretch>
        </p:blipFill>
        <p:spPr>
          <a:xfrm>
            <a:off x="5884534" y="1830864"/>
            <a:ext cx="819150" cy="927045"/>
          </a:xfrm>
          <a:prstGeom prst="rect">
            <a:avLst/>
          </a:prstGeom>
        </p:spPr>
      </p:pic>
      <p:pic>
        <p:nvPicPr>
          <p:cNvPr id="16" name="Picture 15">
            <a:extLst>
              <a:ext uri="{FF2B5EF4-FFF2-40B4-BE49-F238E27FC236}">
                <a16:creationId xmlns:a16="http://schemas.microsoft.com/office/drawing/2014/main" id="{98DAAD66-C420-492B-8204-3CBFD582BF10}"/>
              </a:ext>
            </a:extLst>
          </p:cNvPr>
          <p:cNvPicPr>
            <a:picLocks noChangeAspect="1"/>
          </p:cNvPicPr>
          <p:nvPr/>
        </p:nvPicPr>
        <p:blipFill>
          <a:blip r:embed="rId5"/>
          <a:stretch>
            <a:fillRect/>
          </a:stretch>
        </p:blipFill>
        <p:spPr>
          <a:xfrm>
            <a:off x="5983604" y="4208167"/>
            <a:ext cx="720080" cy="704850"/>
          </a:xfrm>
          <a:prstGeom prst="rect">
            <a:avLst/>
          </a:prstGeom>
        </p:spPr>
      </p:pic>
      <p:pic>
        <p:nvPicPr>
          <p:cNvPr id="17" name="Picture 16">
            <a:extLst>
              <a:ext uri="{FF2B5EF4-FFF2-40B4-BE49-F238E27FC236}">
                <a16:creationId xmlns:a16="http://schemas.microsoft.com/office/drawing/2014/main" id="{E97730DC-DF89-4563-B2C3-313872F496E1}"/>
              </a:ext>
            </a:extLst>
          </p:cNvPr>
          <p:cNvPicPr>
            <a:picLocks noChangeAspect="1"/>
          </p:cNvPicPr>
          <p:nvPr/>
        </p:nvPicPr>
        <p:blipFill>
          <a:blip r:embed="rId6"/>
          <a:stretch>
            <a:fillRect/>
          </a:stretch>
        </p:blipFill>
        <p:spPr>
          <a:xfrm>
            <a:off x="5961137" y="3036434"/>
            <a:ext cx="714375" cy="752475"/>
          </a:xfrm>
          <a:prstGeom prst="rect">
            <a:avLst/>
          </a:prstGeom>
        </p:spPr>
      </p:pic>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3</a:t>
            </a:fld>
            <a:endParaRPr lang="en-US" dirty="0"/>
          </a:p>
        </p:txBody>
      </p:sp>
      <p:pic>
        <p:nvPicPr>
          <p:cNvPr id="18" name="Picture 17">
            <a:extLst>
              <a:ext uri="{FF2B5EF4-FFF2-40B4-BE49-F238E27FC236}">
                <a16:creationId xmlns:a16="http://schemas.microsoft.com/office/drawing/2014/main" id="{792F90CD-445B-4533-916E-0831677343A6}"/>
              </a:ext>
            </a:extLst>
          </p:cNvPr>
          <p:cNvPicPr>
            <a:picLocks noChangeAspect="1"/>
          </p:cNvPicPr>
          <p:nvPr/>
        </p:nvPicPr>
        <p:blipFill>
          <a:blip r:embed="rId7"/>
          <a:stretch>
            <a:fillRect/>
          </a:stretch>
        </p:blipFill>
        <p:spPr>
          <a:xfrm>
            <a:off x="2452264" y="5090520"/>
            <a:ext cx="742950" cy="923925"/>
          </a:xfrm>
          <a:prstGeom prst="rect">
            <a:avLst/>
          </a:prstGeom>
        </p:spPr>
      </p:pic>
      <p:grpSp>
        <p:nvGrpSpPr>
          <p:cNvPr id="23" name="Group 22">
            <a:extLst>
              <a:ext uri="{FF2B5EF4-FFF2-40B4-BE49-F238E27FC236}">
                <a16:creationId xmlns:a16="http://schemas.microsoft.com/office/drawing/2014/main" id="{5686D3AF-41B1-48E2-944D-58C172524224}"/>
              </a:ext>
            </a:extLst>
          </p:cNvPr>
          <p:cNvGrpSpPr/>
          <p:nvPr/>
        </p:nvGrpSpPr>
        <p:grpSpPr>
          <a:xfrm>
            <a:off x="2610756" y="5885201"/>
            <a:ext cx="393547" cy="315859"/>
            <a:chOff x="1919536" y="2356871"/>
            <a:chExt cx="576064" cy="505153"/>
          </a:xfrm>
          <a:solidFill>
            <a:schemeClr val="bg1"/>
          </a:solidFill>
          <a:effectLst/>
        </p:grpSpPr>
        <p:sp>
          <p:nvSpPr>
            <p:cNvPr id="19" name="Flowchart: Magnetic Disk 18">
              <a:extLst>
                <a:ext uri="{FF2B5EF4-FFF2-40B4-BE49-F238E27FC236}">
                  <a16:creationId xmlns:a16="http://schemas.microsoft.com/office/drawing/2014/main" id="{CD4524FE-5C71-44E0-8387-7B04B623CD69}"/>
                </a:ext>
              </a:extLst>
            </p:cNvPr>
            <p:cNvSpPr/>
            <p:nvPr/>
          </p:nvSpPr>
          <p:spPr>
            <a:xfrm>
              <a:off x="1919536" y="2674689"/>
              <a:ext cx="576064" cy="187335"/>
            </a:xfrm>
            <a:prstGeom prst="flowChartMagneticDisk">
              <a:avLst/>
            </a:prstGeom>
            <a:grpFill/>
            <a:ln w="15875">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sp>
          <p:nvSpPr>
            <p:cNvPr id="20" name="Flowchart: Magnetic Disk 19">
              <a:extLst>
                <a:ext uri="{FF2B5EF4-FFF2-40B4-BE49-F238E27FC236}">
                  <a16:creationId xmlns:a16="http://schemas.microsoft.com/office/drawing/2014/main" id="{277B3E55-98C0-415C-99EB-B28DFAE05015}"/>
                </a:ext>
              </a:extLst>
            </p:cNvPr>
            <p:cNvSpPr/>
            <p:nvPr/>
          </p:nvSpPr>
          <p:spPr>
            <a:xfrm>
              <a:off x="1919536" y="2515780"/>
              <a:ext cx="576064" cy="187335"/>
            </a:xfrm>
            <a:prstGeom prst="flowChartMagneticDisk">
              <a:avLst/>
            </a:prstGeom>
            <a:grpFill/>
            <a:ln w="15875">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sp>
          <p:nvSpPr>
            <p:cNvPr id="21" name="Flowchart: Magnetic Disk 20">
              <a:extLst>
                <a:ext uri="{FF2B5EF4-FFF2-40B4-BE49-F238E27FC236}">
                  <a16:creationId xmlns:a16="http://schemas.microsoft.com/office/drawing/2014/main" id="{C359A161-1C39-4BB5-B573-0FB0ED180CD6}"/>
                </a:ext>
              </a:extLst>
            </p:cNvPr>
            <p:cNvSpPr/>
            <p:nvPr/>
          </p:nvSpPr>
          <p:spPr>
            <a:xfrm>
              <a:off x="1919536" y="2356871"/>
              <a:ext cx="576064" cy="187335"/>
            </a:xfrm>
            <a:prstGeom prst="flowChartMagneticDisk">
              <a:avLst/>
            </a:prstGeom>
            <a:grpFill/>
            <a:ln w="15875">
              <a:solidFill>
                <a:schemeClr val="tx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ln w="0"/>
                <a:solidFill>
                  <a:schemeClr val="accent1"/>
                </a:solidFill>
                <a:effectLst>
                  <a:outerShdw blurRad="38100" dist="25400" dir="5400000" algn="ctr" rotWithShape="0">
                    <a:srgbClr val="6E747A">
                      <a:alpha val="43000"/>
                    </a:srgbClr>
                  </a:outerShdw>
                </a:effectLst>
              </a:endParaRPr>
            </a:p>
          </p:txBody>
        </p:sp>
      </p:grpSp>
      <p:sp>
        <p:nvSpPr>
          <p:cNvPr id="39" name="Rectangle 38">
            <a:extLst>
              <a:ext uri="{FF2B5EF4-FFF2-40B4-BE49-F238E27FC236}">
                <a16:creationId xmlns:a16="http://schemas.microsoft.com/office/drawing/2014/main" id="{26955AE1-131B-4845-B89D-8759408C1D79}"/>
              </a:ext>
            </a:extLst>
          </p:cNvPr>
          <p:cNvSpPr/>
          <p:nvPr/>
        </p:nvSpPr>
        <p:spPr>
          <a:xfrm>
            <a:off x="3932562" y="4641150"/>
            <a:ext cx="1515363" cy="444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Networking</a:t>
            </a:r>
            <a:endParaRPr lang="de-DE" sz="1400" dirty="0">
              <a:solidFill>
                <a:schemeClr val="tx1"/>
              </a:solidFill>
            </a:endParaRPr>
          </a:p>
        </p:txBody>
      </p:sp>
      <p:sp>
        <p:nvSpPr>
          <p:cNvPr id="40" name="Rectangle 39">
            <a:extLst>
              <a:ext uri="{FF2B5EF4-FFF2-40B4-BE49-F238E27FC236}">
                <a16:creationId xmlns:a16="http://schemas.microsoft.com/office/drawing/2014/main" id="{DAD4BA2F-AAC5-406F-8C59-8727C080D03C}"/>
              </a:ext>
            </a:extLst>
          </p:cNvPr>
          <p:cNvSpPr/>
          <p:nvPr/>
        </p:nvSpPr>
        <p:spPr>
          <a:xfrm>
            <a:off x="3932562" y="5187622"/>
            <a:ext cx="1515363" cy="444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Storage</a:t>
            </a:r>
            <a:endParaRPr lang="de-DE" sz="1400" dirty="0">
              <a:solidFill>
                <a:schemeClr val="tx1"/>
              </a:solidFill>
            </a:endParaRPr>
          </a:p>
        </p:txBody>
      </p:sp>
      <p:sp>
        <p:nvSpPr>
          <p:cNvPr id="41" name="Rectangle 40">
            <a:extLst>
              <a:ext uri="{FF2B5EF4-FFF2-40B4-BE49-F238E27FC236}">
                <a16:creationId xmlns:a16="http://schemas.microsoft.com/office/drawing/2014/main" id="{DE2CF0AE-16C8-4340-BB8B-9B77835C8FF9}"/>
              </a:ext>
            </a:extLst>
          </p:cNvPr>
          <p:cNvSpPr/>
          <p:nvPr/>
        </p:nvSpPr>
        <p:spPr>
          <a:xfrm>
            <a:off x="3932563" y="4094678"/>
            <a:ext cx="1515363" cy="444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Compute</a:t>
            </a:r>
            <a:endParaRPr lang="de-DE" sz="1400" dirty="0">
              <a:solidFill>
                <a:schemeClr val="tx1"/>
              </a:solidFill>
            </a:endParaRPr>
          </a:p>
        </p:txBody>
      </p:sp>
      <p:sp>
        <p:nvSpPr>
          <p:cNvPr id="42" name="Rectangle 41">
            <a:extLst>
              <a:ext uri="{FF2B5EF4-FFF2-40B4-BE49-F238E27FC236}">
                <a16:creationId xmlns:a16="http://schemas.microsoft.com/office/drawing/2014/main" id="{9E52D144-482F-46CA-B295-DF10D0CFE284}"/>
              </a:ext>
            </a:extLst>
          </p:cNvPr>
          <p:cNvSpPr/>
          <p:nvPr/>
        </p:nvSpPr>
        <p:spPr>
          <a:xfrm>
            <a:off x="3938380" y="3542964"/>
            <a:ext cx="1515363" cy="444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Virtual machine</a:t>
            </a:r>
            <a:endParaRPr lang="de-DE" sz="1400" dirty="0">
              <a:solidFill>
                <a:schemeClr val="tx1"/>
              </a:solidFill>
            </a:endParaRPr>
          </a:p>
        </p:txBody>
      </p:sp>
      <p:sp>
        <p:nvSpPr>
          <p:cNvPr id="43" name="Rectangle 42">
            <a:extLst>
              <a:ext uri="{FF2B5EF4-FFF2-40B4-BE49-F238E27FC236}">
                <a16:creationId xmlns:a16="http://schemas.microsoft.com/office/drawing/2014/main" id="{0FF1F5E1-92B7-469C-B4CA-219CACB0AF69}"/>
              </a:ext>
            </a:extLst>
          </p:cNvPr>
          <p:cNvSpPr/>
          <p:nvPr/>
        </p:nvSpPr>
        <p:spPr>
          <a:xfrm>
            <a:off x="3932563" y="2993871"/>
            <a:ext cx="1515363" cy="444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Operating system</a:t>
            </a:r>
            <a:endParaRPr lang="de-DE" sz="1400" dirty="0">
              <a:solidFill>
                <a:schemeClr val="tx1"/>
              </a:solidFill>
            </a:endParaRPr>
          </a:p>
        </p:txBody>
      </p:sp>
      <p:sp>
        <p:nvSpPr>
          <p:cNvPr id="44" name="Rectangle 43">
            <a:extLst>
              <a:ext uri="{FF2B5EF4-FFF2-40B4-BE49-F238E27FC236}">
                <a16:creationId xmlns:a16="http://schemas.microsoft.com/office/drawing/2014/main" id="{C2E27C9D-CE19-4C38-A944-74FC207A6C16}"/>
              </a:ext>
            </a:extLst>
          </p:cNvPr>
          <p:cNvSpPr/>
          <p:nvPr/>
        </p:nvSpPr>
        <p:spPr>
          <a:xfrm>
            <a:off x="3935760" y="2444778"/>
            <a:ext cx="1515363" cy="444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Runtime</a:t>
            </a:r>
            <a:endParaRPr lang="de-DE" sz="1400" dirty="0">
              <a:solidFill>
                <a:schemeClr val="tx1"/>
              </a:solidFill>
            </a:endParaRPr>
          </a:p>
        </p:txBody>
      </p:sp>
      <p:sp>
        <p:nvSpPr>
          <p:cNvPr id="45" name="Rectangle 44">
            <a:extLst>
              <a:ext uri="{FF2B5EF4-FFF2-40B4-BE49-F238E27FC236}">
                <a16:creationId xmlns:a16="http://schemas.microsoft.com/office/drawing/2014/main" id="{0CB1F6FA-62D7-4DD6-AC9C-86FC1ADC4034}"/>
              </a:ext>
            </a:extLst>
          </p:cNvPr>
          <p:cNvSpPr/>
          <p:nvPr/>
        </p:nvSpPr>
        <p:spPr>
          <a:xfrm>
            <a:off x="3932564" y="1895685"/>
            <a:ext cx="1515363" cy="444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Applications</a:t>
            </a:r>
            <a:endParaRPr lang="de-DE" sz="1400" dirty="0">
              <a:solidFill>
                <a:schemeClr val="tx1"/>
              </a:solidFill>
            </a:endParaRPr>
          </a:p>
        </p:txBody>
      </p:sp>
      <p:sp>
        <p:nvSpPr>
          <p:cNvPr id="46" name="Rectangle 45">
            <a:extLst>
              <a:ext uri="{FF2B5EF4-FFF2-40B4-BE49-F238E27FC236}">
                <a16:creationId xmlns:a16="http://schemas.microsoft.com/office/drawing/2014/main" id="{9936EE42-3186-42F5-BF0D-45DA76F655D5}"/>
              </a:ext>
            </a:extLst>
          </p:cNvPr>
          <p:cNvSpPr/>
          <p:nvPr/>
        </p:nvSpPr>
        <p:spPr>
          <a:xfrm>
            <a:off x="3935760" y="1342977"/>
            <a:ext cx="1515363" cy="444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Data &amp; Access</a:t>
            </a:r>
            <a:endParaRPr lang="de-DE" sz="1400" dirty="0">
              <a:solidFill>
                <a:schemeClr val="tx1"/>
              </a:solidFill>
            </a:endParaRPr>
          </a:p>
        </p:txBody>
      </p:sp>
      <p:grpSp>
        <p:nvGrpSpPr>
          <p:cNvPr id="74" name="Group 73">
            <a:extLst>
              <a:ext uri="{FF2B5EF4-FFF2-40B4-BE49-F238E27FC236}">
                <a16:creationId xmlns:a16="http://schemas.microsoft.com/office/drawing/2014/main" id="{ADFE32DA-94D5-459E-9AD9-16DC5BEDDDC2}"/>
              </a:ext>
            </a:extLst>
          </p:cNvPr>
          <p:cNvGrpSpPr/>
          <p:nvPr/>
        </p:nvGrpSpPr>
        <p:grpSpPr>
          <a:xfrm>
            <a:off x="2179021" y="3473501"/>
            <a:ext cx="1613313" cy="1735248"/>
            <a:chOff x="2169663" y="3543379"/>
            <a:chExt cx="1613313" cy="1735248"/>
          </a:xfrm>
        </p:grpSpPr>
        <p:grpSp>
          <p:nvGrpSpPr>
            <p:cNvPr id="31" name="Group 30">
              <a:extLst>
                <a:ext uri="{FF2B5EF4-FFF2-40B4-BE49-F238E27FC236}">
                  <a16:creationId xmlns:a16="http://schemas.microsoft.com/office/drawing/2014/main" id="{09E2AC04-33AB-4E21-92AF-5E37B3D0F032}"/>
                </a:ext>
              </a:extLst>
            </p:cNvPr>
            <p:cNvGrpSpPr/>
            <p:nvPr/>
          </p:nvGrpSpPr>
          <p:grpSpPr>
            <a:xfrm>
              <a:off x="2169663" y="3611553"/>
              <a:ext cx="695324" cy="1503858"/>
              <a:chOff x="1055440" y="4100888"/>
              <a:chExt cx="504056" cy="982771"/>
            </a:xfrm>
          </p:grpSpPr>
          <p:sp>
            <p:nvSpPr>
              <p:cNvPr id="24" name="Cube 23">
                <a:extLst>
                  <a:ext uri="{FF2B5EF4-FFF2-40B4-BE49-F238E27FC236}">
                    <a16:creationId xmlns:a16="http://schemas.microsoft.com/office/drawing/2014/main" id="{671674AB-00E7-43CF-AACB-4A5E37D26D98}"/>
                  </a:ext>
                </a:extLst>
              </p:cNvPr>
              <p:cNvSpPr/>
              <p:nvPr/>
            </p:nvSpPr>
            <p:spPr>
              <a:xfrm>
                <a:off x="1055440" y="4100888"/>
                <a:ext cx="504056" cy="982771"/>
              </a:xfrm>
              <a:prstGeom prst="cube">
                <a:avLst/>
              </a:prstGeom>
              <a:ln w="19050"/>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grpSp>
            <p:nvGrpSpPr>
              <p:cNvPr id="30" name="Group 29">
                <a:extLst>
                  <a:ext uri="{FF2B5EF4-FFF2-40B4-BE49-F238E27FC236}">
                    <a16:creationId xmlns:a16="http://schemas.microsoft.com/office/drawing/2014/main" id="{66E0575D-3539-4CAA-BE1B-95168F2A3D9C}"/>
                  </a:ext>
                </a:extLst>
              </p:cNvPr>
              <p:cNvGrpSpPr/>
              <p:nvPr/>
            </p:nvGrpSpPr>
            <p:grpSpPr>
              <a:xfrm>
                <a:off x="1116415" y="4347784"/>
                <a:ext cx="252004" cy="213989"/>
                <a:chOff x="1116415" y="4347784"/>
                <a:chExt cx="252004" cy="213989"/>
              </a:xfrm>
            </p:grpSpPr>
            <p:sp>
              <p:nvSpPr>
                <p:cNvPr id="27" name="Rectangle 26">
                  <a:extLst>
                    <a:ext uri="{FF2B5EF4-FFF2-40B4-BE49-F238E27FC236}">
                      <a16:creationId xmlns:a16="http://schemas.microsoft.com/office/drawing/2014/main" id="{6BABA64B-F73C-4003-9EE3-05A027F54C52}"/>
                    </a:ext>
                  </a:extLst>
                </p:cNvPr>
                <p:cNvSpPr/>
                <p:nvPr/>
              </p:nvSpPr>
              <p:spPr>
                <a:xfrm>
                  <a:off x="1116415" y="4347784"/>
                  <a:ext cx="252000" cy="45719"/>
                </a:xfrm>
                <a:prstGeom prst="rect">
                  <a:avLst/>
                </a:prstGeom>
                <a:ln w="19050"/>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sp>
              <p:nvSpPr>
                <p:cNvPr id="28" name="Rectangle 27">
                  <a:extLst>
                    <a:ext uri="{FF2B5EF4-FFF2-40B4-BE49-F238E27FC236}">
                      <a16:creationId xmlns:a16="http://schemas.microsoft.com/office/drawing/2014/main" id="{FCF671A4-98DC-4C20-B125-9BB8672D3BC7}"/>
                    </a:ext>
                  </a:extLst>
                </p:cNvPr>
                <p:cNvSpPr/>
                <p:nvPr/>
              </p:nvSpPr>
              <p:spPr>
                <a:xfrm>
                  <a:off x="1116415" y="4436161"/>
                  <a:ext cx="252000" cy="45719"/>
                </a:xfrm>
                <a:prstGeom prst="rect">
                  <a:avLst/>
                </a:prstGeom>
                <a:ln w="19050"/>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sp>
              <p:nvSpPr>
                <p:cNvPr id="29" name="Rectangle 28">
                  <a:extLst>
                    <a:ext uri="{FF2B5EF4-FFF2-40B4-BE49-F238E27FC236}">
                      <a16:creationId xmlns:a16="http://schemas.microsoft.com/office/drawing/2014/main" id="{6C85359D-C4D0-4340-8963-40929A088DE7}"/>
                    </a:ext>
                  </a:extLst>
                </p:cNvPr>
                <p:cNvSpPr/>
                <p:nvPr/>
              </p:nvSpPr>
              <p:spPr>
                <a:xfrm>
                  <a:off x="1116415" y="4516054"/>
                  <a:ext cx="252004" cy="45719"/>
                </a:xfrm>
                <a:prstGeom prst="rect">
                  <a:avLst/>
                </a:prstGeom>
                <a:ln w="19050"/>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grpSp>
        </p:grpSp>
        <p:pic>
          <p:nvPicPr>
            <p:cNvPr id="33" name="Picture 32">
              <a:extLst>
                <a:ext uri="{FF2B5EF4-FFF2-40B4-BE49-F238E27FC236}">
                  <a16:creationId xmlns:a16="http://schemas.microsoft.com/office/drawing/2014/main" id="{A40E1EC0-3F69-4897-8F3A-BC529E8375A2}"/>
                </a:ext>
              </a:extLst>
            </p:cNvPr>
            <p:cNvPicPr>
              <a:picLocks noChangeAspect="1"/>
            </p:cNvPicPr>
            <p:nvPr/>
          </p:nvPicPr>
          <p:blipFill>
            <a:blip r:embed="rId3"/>
            <a:stretch>
              <a:fillRect/>
            </a:stretch>
          </p:blipFill>
          <p:spPr>
            <a:xfrm>
              <a:off x="3185856" y="3543379"/>
              <a:ext cx="597120" cy="432000"/>
            </a:xfrm>
            <a:prstGeom prst="rect">
              <a:avLst/>
            </a:prstGeom>
          </p:spPr>
        </p:pic>
        <p:pic>
          <p:nvPicPr>
            <p:cNvPr id="36" name="Picture 35">
              <a:extLst>
                <a:ext uri="{FF2B5EF4-FFF2-40B4-BE49-F238E27FC236}">
                  <a16:creationId xmlns:a16="http://schemas.microsoft.com/office/drawing/2014/main" id="{EA253F21-3527-49FE-9709-C66D3F9C470E}"/>
                </a:ext>
              </a:extLst>
            </p:cNvPr>
            <p:cNvPicPr>
              <a:picLocks noChangeAspect="1"/>
            </p:cNvPicPr>
            <p:nvPr/>
          </p:nvPicPr>
          <p:blipFill>
            <a:blip r:embed="rId3"/>
            <a:stretch>
              <a:fillRect/>
            </a:stretch>
          </p:blipFill>
          <p:spPr>
            <a:xfrm>
              <a:off x="3185856" y="3951739"/>
              <a:ext cx="597120" cy="432000"/>
            </a:xfrm>
            <a:prstGeom prst="rect">
              <a:avLst/>
            </a:prstGeom>
          </p:spPr>
        </p:pic>
        <p:pic>
          <p:nvPicPr>
            <p:cNvPr id="37" name="Picture 36">
              <a:extLst>
                <a:ext uri="{FF2B5EF4-FFF2-40B4-BE49-F238E27FC236}">
                  <a16:creationId xmlns:a16="http://schemas.microsoft.com/office/drawing/2014/main" id="{6169D3FE-E08E-47FB-AC51-A7B527EDB1A2}"/>
                </a:ext>
              </a:extLst>
            </p:cNvPr>
            <p:cNvPicPr>
              <a:picLocks noChangeAspect="1"/>
            </p:cNvPicPr>
            <p:nvPr/>
          </p:nvPicPr>
          <p:blipFill>
            <a:blip r:embed="rId3"/>
            <a:stretch>
              <a:fillRect/>
            </a:stretch>
          </p:blipFill>
          <p:spPr>
            <a:xfrm>
              <a:off x="3185856" y="4360099"/>
              <a:ext cx="597120" cy="432000"/>
            </a:xfrm>
            <a:prstGeom prst="rect">
              <a:avLst/>
            </a:prstGeom>
          </p:spPr>
        </p:pic>
        <p:pic>
          <p:nvPicPr>
            <p:cNvPr id="38" name="Picture 37">
              <a:extLst>
                <a:ext uri="{FF2B5EF4-FFF2-40B4-BE49-F238E27FC236}">
                  <a16:creationId xmlns:a16="http://schemas.microsoft.com/office/drawing/2014/main" id="{07B6C13E-7503-45C1-B239-3CA29FBBD2BB}"/>
                </a:ext>
              </a:extLst>
            </p:cNvPr>
            <p:cNvPicPr>
              <a:picLocks noChangeAspect="1"/>
            </p:cNvPicPr>
            <p:nvPr/>
          </p:nvPicPr>
          <p:blipFill>
            <a:blip r:embed="rId3"/>
            <a:stretch>
              <a:fillRect/>
            </a:stretch>
          </p:blipFill>
          <p:spPr>
            <a:xfrm>
              <a:off x="3185856" y="4767578"/>
              <a:ext cx="597120" cy="432000"/>
            </a:xfrm>
            <a:prstGeom prst="rect">
              <a:avLst/>
            </a:prstGeom>
          </p:spPr>
        </p:pic>
        <p:grpSp>
          <p:nvGrpSpPr>
            <p:cNvPr id="47" name="Group 46">
              <a:extLst>
                <a:ext uri="{FF2B5EF4-FFF2-40B4-BE49-F238E27FC236}">
                  <a16:creationId xmlns:a16="http://schemas.microsoft.com/office/drawing/2014/main" id="{9C18E2A0-859B-413C-AA8A-20966EA2204D}"/>
                </a:ext>
              </a:extLst>
            </p:cNvPr>
            <p:cNvGrpSpPr/>
            <p:nvPr/>
          </p:nvGrpSpPr>
          <p:grpSpPr>
            <a:xfrm>
              <a:off x="2299621" y="3695124"/>
              <a:ext cx="695324" cy="1503858"/>
              <a:chOff x="1055440" y="4100888"/>
              <a:chExt cx="504056" cy="982771"/>
            </a:xfrm>
          </p:grpSpPr>
          <p:sp>
            <p:nvSpPr>
              <p:cNvPr id="48" name="Cube 47">
                <a:extLst>
                  <a:ext uri="{FF2B5EF4-FFF2-40B4-BE49-F238E27FC236}">
                    <a16:creationId xmlns:a16="http://schemas.microsoft.com/office/drawing/2014/main" id="{FE07CFD1-6B4E-40B1-9769-7DC13E9C5C82}"/>
                  </a:ext>
                </a:extLst>
              </p:cNvPr>
              <p:cNvSpPr/>
              <p:nvPr/>
            </p:nvSpPr>
            <p:spPr>
              <a:xfrm>
                <a:off x="1055440" y="4100888"/>
                <a:ext cx="504056" cy="982771"/>
              </a:xfrm>
              <a:prstGeom prst="cube">
                <a:avLst/>
              </a:prstGeom>
              <a:ln w="15875"/>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grpSp>
            <p:nvGrpSpPr>
              <p:cNvPr id="49" name="Group 48">
                <a:extLst>
                  <a:ext uri="{FF2B5EF4-FFF2-40B4-BE49-F238E27FC236}">
                    <a16:creationId xmlns:a16="http://schemas.microsoft.com/office/drawing/2014/main" id="{A9249596-47A3-41FD-A4C6-671349C7FFD4}"/>
                  </a:ext>
                </a:extLst>
              </p:cNvPr>
              <p:cNvGrpSpPr/>
              <p:nvPr/>
            </p:nvGrpSpPr>
            <p:grpSpPr>
              <a:xfrm>
                <a:off x="1116415" y="4347784"/>
                <a:ext cx="252004" cy="213989"/>
                <a:chOff x="1116415" y="4347784"/>
                <a:chExt cx="252004" cy="213989"/>
              </a:xfrm>
            </p:grpSpPr>
            <p:sp>
              <p:nvSpPr>
                <p:cNvPr id="50" name="Rectangle 49">
                  <a:extLst>
                    <a:ext uri="{FF2B5EF4-FFF2-40B4-BE49-F238E27FC236}">
                      <a16:creationId xmlns:a16="http://schemas.microsoft.com/office/drawing/2014/main" id="{A8977202-90F8-48DD-A9F1-7934FC6B8E69}"/>
                    </a:ext>
                  </a:extLst>
                </p:cNvPr>
                <p:cNvSpPr/>
                <p:nvPr/>
              </p:nvSpPr>
              <p:spPr>
                <a:xfrm>
                  <a:off x="1116415" y="4347784"/>
                  <a:ext cx="252000" cy="45719"/>
                </a:xfrm>
                <a:prstGeom prst="rect">
                  <a:avLst/>
                </a:prstGeom>
                <a:ln w="15875"/>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sp>
              <p:nvSpPr>
                <p:cNvPr id="51" name="Rectangle 50">
                  <a:extLst>
                    <a:ext uri="{FF2B5EF4-FFF2-40B4-BE49-F238E27FC236}">
                      <a16:creationId xmlns:a16="http://schemas.microsoft.com/office/drawing/2014/main" id="{156B3675-EF62-4912-8558-3B293E765E6C}"/>
                    </a:ext>
                  </a:extLst>
                </p:cNvPr>
                <p:cNvSpPr/>
                <p:nvPr/>
              </p:nvSpPr>
              <p:spPr>
                <a:xfrm>
                  <a:off x="1116415" y="4436161"/>
                  <a:ext cx="252000" cy="45719"/>
                </a:xfrm>
                <a:prstGeom prst="rect">
                  <a:avLst/>
                </a:prstGeom>
                <a:ln w="15875"/>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sp>
              <p:nvSpPr>
                <p:cNvPr id="52" name="Rectangle 51">
                  <a:extLst>
                    <a:ext uri="{FF2B5EF4-FFF2-40B4-BE49-F238E27FC236}">
                      <a16:creationId xmlns:a16="http://schemas.microsoft.com/office/drawing/2014/main" id="{0C62E2D3-AF3E-4C1B-AF98-81CEAA1FDE57}"/>
                    </a:ext>
                  </a:extLst>
                </p:cNvPr>
                <p:cNvSpPr/>
                <p:nvPr/>
              </p:nvSpPr>
              <p:spPr>
                <a:xfrm>
                  <a:off x="1116415" y="4516054"/>
                  <a:ext cx="252004" cy="45719"/>
                </a:xfrm>
                <a:prstGeom prst="rect">
                  <a:avLst/>
                </a:prstGeom>
                <a:ln w="15875"/>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grpSp>
        </p:grpSp>
        <p:grpSp>
          <p:nvGrpSpPr>
            <p:cNvPr id="59" name="Group 58">
              <a:extLst>
                <a:ext uri="{FF2B5EF4-FFF2-40B4-BE49-F238E27FC236}">
                  <a16:creationId xmlns:a16="http://schemas.microsoft.com/office/drawing/2014/main" id="{07569F6C-0DBA-47E7-A416-445A7F1AC9D0}"/>
                </a:ext>
              </a:extLst>
            </p:cNvPr>
            <p:cNvGrpSpPr/>
            <p:nvPr/>
          </p:nvGrpSpPr>
          <p:grpSpPr>
            <a:xfrm>
              <a:off x="2450507" y="3774769"/>
              <a:ext cx="695324" cy="1503858"/>
              <a:chOff x="1055440" y="4100888"/>
              <a:chExt cx="504056" cy="982771"/>
            </a:xfrm>
          </p:grpSpPr>
          <p:sp>
            <p:nvSpPr>
              <p:cNvPr id="60" name="Cube 59">
                <a:extLst>
                  <a:ext uri="{FF2B5EF4-FFF2-40B4-BE49-F238E27FC236}">
                    <a16:creationId xmlns:a16="http://schemas.microsoft.com/office/drawing/2014/main" id="{351EA0E9-3051-43B7-9040-B2869F80CBBC}"/>
                  </a:ext>
                </a:extLst>
              </p:cNvPr>
              <p:cNvSpPr/>
              <p:nvPr/>
            </p:nvSpPr>
            <p:spPr>
              <a:xfrm>
                <a:off x="1055440" y="4100888"/>
                <a:ext cx="504056" cy="982771"/>
              </a:xfrm>
              <a:prstGeom prst="cube">
                <a:avLst/>
              </a:prstGeom>
              <a:ln w="15875"/>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grpSp>
            <p:nvGrpSpPr>
              <p:cNvPr id="61" name="Group 60">
                <a:extLst>
                  <a:ext uri="{FF2B5EF4-FFF2-40B4-BE49-F238E27FC236}">
                    <a16:creationId xmlns:a16="http://schemas.microsoft.com/office/drawing/2014/main" id="{DFFC5F7B-ADF8-45A1-9759-230281119424}"/>
                  </a:ext>
                </a:extLst>
              </p:cNvPr>
              <p:cNvGrpSpPr/>
              <p:nvPr/>
            </p:nvGrpSpPr>
            <p:grpSpPr>
              <a:xfrm>
                <a:off x="1116415" y="4347784"/>
                <a:ext cx="252004" cy="213989"/>
                <a:chOff x="1116415" y="4347784"/>
                <a:chExt cx="252004" cy="213989"/>
              </a:xfrm>
            </p:grpSpPr>
            <p:sp>
              <p:nvSpPr>
                <p:cNvPr id="62" name="Rectangle 61">
                  <a:extLst>
                    <a:ext uri="{FF2B5EF4-FFF2-40B4-BE49-F238E27FC236}">
                      <a16:creationId xmlns:a16="http://schemas.microsoft.com/office/drawing/2014/main" id="{27157676-97D6-42CF-880D-8DB0CC77E1A9}"/>
                    </a:ext>
                  </a:extLst>
                </p:cNvPr>
                <p:cNvSpPr/>
                <p:nvPr/>
              </p:nvSpPr>
              <p:spPr>
                <a:xfrm>
                  <a:off x="1116415" y="4347784"/>
                  <a:ext cx="252000" cy="45719"/>
                </a:xfrm>
                <a:prstGeom prst="rect">
                  <a:avLst/>
                </a:prstGeom>
                <a:ln w="15875"/>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sp>
              <p:nvSpPr>
                <p:cNvPr id="63" name="Rectangle 62">
                  <a:extLst>
                    <a:ext uri="{FF2B5EF4-FFF2-40B4-BE49-F238E27FC236}">
                      <a16:creationId xmlns:a16="http://schemas.microsoft.com/office/drawing/2014/main" id="{5EA61ECB-BFF0-4761-BC5E-24B13361D39C}"/>
                    </a:ext>
                  </a:extLst>
                </p:cNvPr>
                <p:cNvSpPr/>
                <p:nvPr/>
              </p:nvSpPr>
              <p:spPr>
                <a:xfrm>
                  <a:off x="1116415" y="4436161"/>
                  <a:ext cx="252000" cy="45719"/>
                </a:xfrm>
                <a:prstGeom prst="rect">
                  <a:avLst/>
                </a:prstGeom>
                <a:ln w="15875"/>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sp>
              <p:nvSpPr>
                <p:cNvPr id="64" name="Rectangle 63">
                  <a:extLst>
                    <a:ext uri="{FF2B5EF4-FFF2-40B4-BE49-F238E27FC236}">
                      <a16:creationId xmlns:a16="http://schemas.microsoft.com/office/drawing/2014/main" id="{65E61959-4392-4C0F-8F1A-00886E7BBA90}"/>
                    </a:ext>
                  </a:extLst>
                </p:cNvPr>
                <p:cNvSpPr/>
                <p:nvPr/>
              </p:nvSpPr>
              <p:spPr>
                <a:xfrm>
                  <a:off x="1116415" y="4516054"/>
                  <a:ext cx="252004" cy="45719"/>
                </a:xfrm>
                <a:prstGeom prst="rect">
                  <a:avLst/>
                </a:prstGeom>
                <a:ln w="15875"/>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grpSp>
        </p:grpSp>
      </p:grpSp>
      <p:pic>
        <p:nvPicPr>
          <p:cNvPr id="65" name="Picture 64">
            <a:extLst>
              <a:ext uri="{FF2B5EF4-FFF2-40B4-BE49-F238E27FC236}">
                <a16:creationId xmlns:a16="http://schemas.microsoft.com/office/drawing/2014/main" id="{8FEA5FEA-3721-4C63-9D9E-A7779EC4A189}"/>
              </a:ext>
            </a:extLst>
          </p:cNvPr>
          <p:cNvPicPr>
            <a:picLocks noChangeAspect="1"/>
          </p:cNvPicPr>
          <p:nvPr/>
        </p:nvPicPr>
        <p:blipFill>
          <a:blip r:embed="rId8"/>
          <a:stretch>
            <a:fillRect/>
          </a:stretch>
        </p:blipFill>
        <p:spPr>
          <a:xfrm rot="5400000">
            <a:off x="2545898" y="2919777"/>
            <a:ext cx="590550" cy="571500"/>
          </a:xfrm>
          <a:prstGeom prst="rect">
            <a:avLst/>
          </a:prstGeom>
        </p:spPr>
      </p:pic>
      <p:pic>
        <p:nvPicPr>
          <p:cNvPr id="66" name="Picture 65">
            <a:extLst>
              <a:ext uri="{FF2B5EF4-FFF2-40B4-BE49-F238E27FC236}">
                <a16:creationId xmlns:a16="http://schemas.microsoft.com/office/drawing/2014/main" id="{3AE343B7-9CE8-4343-B012-4127278BEF03}"/>
              </a:ext>
            </a:extLst>
          </p:cNvPr>
          <p:cNvPicPr>
            <a:picLocks noChangeAspect="1"/>
          </p:cNvPicPr>
          <p:nvPr/>
        </p:nvPicPr>
        <p:blipFill>
          <a:blip r:embed="rId9"/>
          <a:stretch>
            <a:fillRect/>
          </a:stretch>
        </p:blipFill>
        <p:spPr>
          <a:xfrm>
            <a:off x="2556796" y="2007760"/>
            <a:ext cx="571500" cy="485775"/>
          </a:xfrm>
          <a:prstGeom prst="rect">
            <a:avLst/>
          </a:prstGeom>
        </p:spPr>
      </p:pic>
      <p:pic>
        <p:nvPicPr>
          <p:cNvPr id="67" name="Picture 66">
            <a:extLst>
              <a:ext uri="{FF2B5EF4-FFF2-40B4-BE49-F238E27FC236}">
                <a16:creationId xmlns:a16="http://schemas.microsoft.com/office/drawing/2014/main" id="{2495848D-C8D0-4E4B-ACDB-DDF4E7F622A1}"/>
              </a:ext>
            </a:extLst>
          </p:cNvPr>
          <p:cNvPicPr>
            <a:picLocks noChangeAspect="1"/>
          </p:cNvPicPr>
          <p:nvPr/>
        </p:nvPicPr>
        <p:blipFill>
          <a:blip r:embed="rId10"/>
          <a:stretch>
            <a:fillRect/>
          </a:stretch>
        </p:blipFill>
        <p:spPr>
          <a:xfrm>
            <a:off x="2517325" y="2497901"/>
            <a:ext cx="704850" cy="381000"/>
          </a:xfrm>
          <a:prstGeom prst="rect">
            <a:avLst/>
          </a:prstGeom>
        </p:spPr>
      </p:pic>
      <p:pic>
        <p:nvPicPr>
          <p:cNvPr id="68" name="Picture 67">
            <a:extLst>
              <a:ext uri="{FF2B5EF4-FFF2-40B4-BE49-F238E27FC236}">
                <a16:creationId xmlns:a16="http://schemas.microsoft.com/office/drawing/2014/main" id="{34ADEFDB-1C17-4D57-9AC5-15A6C4B868C1}"/>
              </a:ext>
            </a:extLst>
          </p:cNvPr>
          <p:cNvPicPr>
            <a:picLocks noChangeAspect="1"/>
          </p:cNvPicPr>
          <p:nvPr/>
        </p:nvPicPr>
        <p:blipFill>
          <a:blip r:embed="rId11"/>
          <a:stretch>
            <a:fillRect/>
          </a:stretch>
        </p:blipFill>
        <p:spPr>
          <a:xfrm>
            <a:off x="2603048" y="1424969"/>
            <a:ext cx="523875" cy="609600"/>
          </a:xfrm>
          <a:prstGeom prst="rect">
            <a:avLst/>
          </a:prstGeom>
        </p:spPr>
      </p:pic>
      <p:sp>
        <p:nvSpPr>
          <p:cNvPr id="69" name="Title 68">
            <a:extLst>
              <a:ext uri="{FF2B5EF4-FFF2-40B4-BE49-F238E27FC236}">
                <a16:creationId xmlns:a16="http://schemas.microsoft.com/office/drawing/2014/main" id="{858F9D4F-1C74-43D0-BF48-A1F273438DA8}"/>
              </a:ext>
            </a:extLst>
          </p:cNvPr>
          <p:cNvSpPr>
            <a:spLocks noGrp="1"/>
          </p:cNvSpPr>
          <p:nvPr>
            <p:ph type="title"/>
          </p:nvPr>
        </p:nvSpPr>
        <p:spPr/>
        <p:txBody>
          <a:bodyPr/>
          <a:lstStyle/>
          <a:p>
            <a:r>
              <a:rPr lang="pl-PL" dirty="0"/>
              <a:t>On Premise – you provision and manage</a:t>
            </a:r>
            <a:endParaRPr lang="de-DE" dirty="0"/>
          </a:p>
        </p:txBody>
      </p:sp>
      <p:pic>
        <p:nvPicPr>
          <p:cNvPr id="70" name="Picture 69">
            <a:extLst>
              <a:ext uri="{FF2B5EF4-FFF2-40B4-BE49-F238E27FC236}">
                <a16:creationId xmlns:a16="http://schemas.microsoft.com/office/drawing/2014/main" id="{AB5BE366-F010-425A-868A-88138AC3E815}"/>
              </a:ext>
            </a:extLst>
          </p:cNvPr>
          <p:cNvPicPr>
            <a:picLocks noChangeAspect="1"/>
          </p:cNvPicPr>
          <p:nvPr/>
        </p:nvPicPr>
        <p:blipFill>
          <a:blip r:embed="rId3"/>
          <a:stretch>
            <a:fillRect/>
          </a:stretch>
        </p:blipFill>
        <p:spPr>
          <a:xfrm>
            <a:off x="9207316" y="2377831"/>
            <a:ext cx="847725" cy="657225"/>
          </a:xfrm>
          <a:prstGeom prst="rect">
            <a:avLst/>
          </a:prstGeom>
        </p:spPr>
      </p:pic>
      <p:pic>
        <p:nvPicPr>
          <p:cNvPr id="71" name="Picture 70">
            <a:extLst>
              <a:ext uri="{FF2B5EF4-FFF2-40B4-BE49-F238E27FC236}">
                <a16:creationId xmlns:a16="http://schemas.microsoft.com/office/drawing/2014/main" id="{05F70D77-E8FB-40BC-B88F-3E538F3B1E0C}"/>
              </a:ext>
            </a:extLst>
          </p:cNvPr>
          <p:cNvPicPr>
            <a:picLocks noChangeAspect="1"/>
          </p:cNvPicPr>
          <p:nvPr/>
        </p:nvPicPr>
        <p:blipFill>
          <a:blip r:embed="rId3"/>
          <a:stretch>
            <a:fillRect/>
          </a:stretch>
        </p:blipFill>
        <p:spPr>
          <a:xfrm>
            <a:off x="9582329" y="2931559"/>
            <a:ext cx="847725" cy="657225"/>
          </a:xfrm>
          <a:prstGeom prst="rect">
            <a:avLst/>
          </a:prstGeom>
        </p:spPr>
      </p:pic>
      <p:cxnSp>
        <p:nvCxnSpPr>
          <p:cNvPr id="76" name="Straight Connector 75">
            <a:extLst>
              <a:ext uri="{FF2B5EF4-FFF2-40B4-BE49-F238E27FC236}">
                <a16:creationId xmlns:a16="http://schemas.microsoft.com/office/drawing/2014/main" id="{4F72726B-0D63-4453-B026-604F819313EB}"/>
              </a:ext>
            </a:extLst>
          </p:cNvPr>
          <p:cNvCxnSpPr>
            <a:cxnSpLocks/>
            <a:endCxn id="11" idx="1"/>
          </p:cNvCxnSpPr>
          <p:nvPr/>
        </p:nvCxnSpPr>
        <p:spPr>
          <a:xfrm flipV="1">
            <a:off x="8615421" y="2135676"/>
            <a:ext cx="809636" cy="1703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141A738-7BF4-40CC-A2D7-635F128A2291}"/>
              </a:ext>
            </a:extLst>
          </p:cNvPr>
          <p:cNvCxnSpPr/>
          <p:nvPr/>
        </p:nvCxnSpPr>
        <p:spPr>
          <a:xfrm flipH="1" flipV="1">
            <a:off x="8949447" y="3686783"/>
            <a:ext cx="26873" cy="271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59AAF42-A22F-45A7-9A46-A8A2349ED17D}"/>
              </a:ext>
            </a:extLst>
          </p:cNvPr>
          <p:cNvCxnSpPr>
            <a:endCxn id="70" idx="1"/>
          </p:cNvCxnSpPr>
          <p:nvPr/>
        </p:nvCxnSpPr>
        <p:spPr>
          <a:xfrm flipV="1">
            <a:off x="8616280" y="2706444"/>
            <a:ext cx="591036" cy="51465"/>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1386C0C-808D-474A-97F2-3D438FBA4D06}"/>
              </a:ext>
            </a:extLst>
          </p:cNvPr>
          <p:cNvCxnSpPr>
            <a:cxnSpLocks/>
            <a:endCxn id="71" idx="1"/>
          </p:cNvCxnSpPr>
          <p:nvPr/>
        </p:nvCxnSpPr>
        <p:spPr>
          <a:xfrm flipV="1">
            <a:off x="8800572" y="3260172"/>
            <a:ext cx="781757" cy="103497"/>
          </a:xfrm>
          <a:prstGeom prst="line">
            <a:avLst/>
          </a:prstGeom>
          <a:ln w="9525">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23455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dirty="0"/>
              <a:t>On Premise vs Cloud</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4</a:t>
            </a:fld>
            <a:endParaRPr lang="en-US" dirty="0"/>
          </a:p>
        </p:txBody>
      </p:sp>
      <p:sp>
        <p:nvSpPr>
          <p:cNvPr id="14" name="Freeform 7">
            <a:extLst>
              <a:ext uri="{FF2B5EF4-FFF2-40B4-BE49-F238E27FC236}">
                <a16:creationId xmlns:a16="http://schemas.microsoft.com/office/drawing/2014/main" id="{377E970E-64BF-40B7-8608-CCD7EB25C613}"/>
              </a:ext>
            </a:extLst>
          </p:cNvPr>
          <p:cNvSpPr>
            <a:spLocks/>
          </p:cNvSpPr>
          <p:nvPr>
            <p:custDataLst>
              <p:tags r:id="rId1"/>
            </p:custDataLst>
          </p:nvPr>
        </p:nvSpPr>
        <p:spPr bwMode="auto">
          <a:xfrm>
            <a:off x="5839935" y="1607034"/>
            <a:ext cx="232174" cy="3889375"/>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2"/>
          </a:solidFill>
          <a:ln w="12700" cap="rnd">
            <a:noFill/>
            <a:round/>
            <a:headEnd type="none" w="sm" len="sm"/>
            <a:tailEnd type="none" w="sm" len="sm"/>
          </a:ln>
          <a:effectLst/>
        </p:spPr>
        <p:txBody>
          <a:bodyPr/>
          <a:lstStyle/>
          <a:p>
            <a:endParaRPr lang="de-DE" dirty="0"/>
          </a:p>
        </p:txBody>
      </p:sp>
      <p:sp>
        <p:nvSpPr>
          <p:cNvPr id="15" name="Freeform 7">
            <a:extLst>
              <a:ext uri="{FF2B5EF4-FFF2-40B4-BE49-F238E27FC236}">
                <a16:creationId xmlns:a16="http://schemas.microsoft.com/office/drawing/2014/main" id="{CFEE59D4-14AA-429F-B81C-8C860DCC62A5}"/>
              </a:ext>
            </a:extLst>
          </p:cNvPr>
          <p:cNvSpPr>
            <a:spLocks/>
          </p:cNvSpPr>
          <p:nvPr>
            <p:custDataLst>
              <p:tags r:id="rId2"/>
            </p:custDataLst>
          </p:nvPr>
        </p:nvSpPr>
        <p:spPr bwMode="auto">
          <a:xfrm flipH="1">
            <a:off x="5375588" y="1607034"/>
            <a:ext cx="232174" cy="3889375"/>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2"/>
          </a:solidFill>
          <a:ln w="12700" cap="rnd">
            <a:noFill/>
            <a:round/>
            <a:headEnd type="none" w="sm" len="sm"/>
            <a:tailEnd type="none" w="sm" len="sm"/>
          </a:ln>
          <a:effectLst/>
        </p:spPr>
        <p:txBody>
          <a:bodyPr/>
          <a:lstStyle/>
          <a:p>
            <a:endParaRPr lang="de-DE" dirty="0"/>
          </a:p>
        </p:txBody>
      </p:sp>
      <p:sp>
        <p:nvSpPr>
          <p:cNvPr id="16" name="Round Single Corner Rectangle 19">
            <a:extLst>
              <a:ext uri="{FF2B5EF4-FFF2-40B4-BE49-F238E27FC236}">
                <a16:creationId xmlns:a16="http://schemas.microsoft.com/office/drawing/2014/main" id="{A43B0FF6-C4F9-4398-A5C3-539F271B3AEB}"/>
              </a:ext>
            </a:extLst>
          </p:cNvPr>
          <p:cNvSpPr>
            <a:spLocks noChangeArrowheads="1"/>
          </p:cNvSpPr>
          <p:nvPr>
            <p:custDataLst>
              <p:tags r:id="rId3"/>
            </p:custDataLst>
          </p:nvPr>
        </p:nvSpPr>
        <p:spPr bwMode="auto">
          <a:xfrm>
            <a:off x="1487488" y="1607140"/>
            <a:ext cx="3743324" cy="360258"/>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a:solidFill>
                  <a:schemeClr val="bg1"/>
                </a:solidFill>
              </a:rPr>
              <a:t>On-Premise</a:t>
            </a:r>
          </a:p>
        </p:txBody>
      </p:sp>
      <p:sp>
        <p:nvSpPr>
          <p:cNvPr id="17" name="Round Single Corner Rectangle 23">
            <a:extLst>
              <a:ext uri="{FF2B5EF4-FFF2-40B4-BE49-F238E27FC236}">
                <a16:creationId xmlns:a16="http://schemas.microsoft.com/office/drawing/2014/main" id="{600DF1BD-DA25-4C4A-89BC-E58C46753A82}"/>
              </a:ext>
            </a:extLst>
          </p:cNvPr>
          <p:cNvSpPr>
            <a:spLocks noChangeArrowheads="1"/>
          </p:cNvSpPr>
          <p:nvPr>
            <p:custDataLst>
              <p:tags r:id="rId4"/>
            </p:custDataLst>
          </p:nvPr>
        </p:nvSpPr>
        <p:spPr bwMode="auto">
          <a:xfrm flipH="1">
            <a:off x="6239708" y="1607140"/>
            <a:ext cx="3744079" cy="360258"/>
          </a:xfrm>
          <a:prstGeom prst="round1Rect">
            <a:avLst/>
          </a:prstGeom>
          <a:solidFill>
            <a:schemeClr val="tx2"/>
          </a:solidFill>
          <a:ln w="9525" cap="flat" cmpd="sng" algn="ctr">
            <a:solidFill>
              <a:schemeClr val="bg2"/>
            </a:solidFill>
            <a:prstDash val="solid"/>
            <a:miter lim="800000"/>
            <a:headEnd type="none" w="med" len="med"/>
            <a:tailEnd type="none" w="med" len="med"/>
          </a:ln>
          <a:effectLst>
            <a:outerShdw blurRad="50800" dist="38099" dir="2700015" rotWithShape="0">
              <a:scrgbClr r="0" g="0" b="0">
                <a:alpha val="40000"/>
              </a:scrgbClr>
            </a:outerShdw>
          </a:effectLst>
        </p:spPr>
        <p:txBody>
          <a:bodyPr vert="horz" wrap="square" lIns="90000" tIns="46800" rIns="90000" bIns="4680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0"/>
              </a:spcBef>
            </a:pPr>
            <a:r>
              <a:rPr lang="en-GB" b="1" dirty="0">
                <a:solidFill>
                  <a:schemeClr val="bg1"/>
                </a:solidFill>
              </a:rPr>
              <a:t>Cloud</a:t>
            </a:r>
          </a:p>
        </p:txBody>
      </p:sp>
      <p:sp>
        <p:nvSpPr>
          <p:cNvPr id="18" name="Rectangle 16">
            <a:extLst>
              <a:ext uri="{FF2B5EF4-FFF2-40B4-BE49-F238E27FC236}">
                <a16:creationId xmlns:a16="http://schemas.microsoft.com/office/drawing/2014/main" id="{2E4D1EC7-752C-42E3-863B-63A6F9ED153F}"/>
              </a:ext>
            </a:extLst>
          </p:cNvPr>
          <p:cNvSpPr>
            <a:spLocks/>
          </p:cNvSpPr>
          <p:nvPr>
            <p:custDataLst>
              <p:tags r:id="rId5"/>
            </p:custDataLst>
          </p:nvPr>
        </p:nvSpPr>
        <p:spPr>
          <a:xfrm>
            <a:off x="1487486" y="1967398"/>
            <a:ext cx="3743325" cy="352901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285750" indent="-285750">
              <a:buFontTx/>
              <a:buChar char="-"/>
            </a:pPr>
            <a:r>
              <a:rPr lang="pl-PL" dirty="0"/>
              <a:t>Hardware</a:t>
            </a:r>
          </a:p>
          <a:p>
            <a:pPr marL="285750" indent="-285750">
              <a:buFontTx/>
              <a:buChar char="-"/>
            </a:pPr>
            <a:r>
              <a:rPr lang="pl-PL" dirty="0"/>
              <a:t>IT Personnel</a:t>
            </a:r>
          </a:p>
          <a:p>
            <a:pPr marL="285750" indent="-285750">
              <a:buFontTx/>
              <a:buChar char="-"/>
            </a:pPr>
            <a:r>
              <a:rPr lang="pl-PL" dirty="0"/>
              <a:t>Maintenance</a:t>
            </a:r>
          </a:p>
          <a:p>
            <a:pPr marL="285750" indent="-285750">
              <a:buFontTx/>
              <a:buChar char="-"/>
            </a:pPr>
            <a:r>
              <a:rPr lang="pl-PL" dirty="0"/>
              <a:t>Electricity/Space</a:t>
            </a:r>
          </a:p>
          <a:p>
            <a:pPr marL="285750" indent="-285750">
              <a:buFontTx/>
              <a:buChar char="-"/>
            </a:pPr>
            <a:r>
              <a:rPr lang="pl-PL" dirty="0"/>
              <a:t>Training</a:t>
            </a:r>
          </a:p>
          <a:p>
            <a:pPr marL="285750" indent="-285750">
              <a:buFontTx/>
              <a:buChar char="-"/>
            </a:pPr>
            <a:r>
              <a:rPr lang="pl-PL" dirty="0"/>
              <a:t>OS, fixes, patches, upgrade</a:t>
            </a:r>
          </a:p>
          <a:p>
            <a:pPr marL="285750" indent="-285750">
              <a:buFontTx/>
              <a:buChar char="-"/>
            </a:pPr>
            <a:r>
              <a:rPr lang="pl-PL" dirty="0"/>
              <a:t>Performance tuning</a:t>
            </a:r>
          </a:p>
          <a:p>
            <a:pPr marL="285750" indent="-285750">
              <a:buFontTx/>
              <a:buChar char="-"/>
            </a:pPr>
            <a:r>
              <a:rPr lang="pl-PL" dirty="0"/>
              <a:t>Integration</a:t>
            </a:r>
          </a:p>
          <a:p>
            <a:pPr marL="285750" indent="-285750">
              <a:buFontTx/>
              <a:buChar char="-"/>
            </a:pPr>
            <a:r>
              <a:rPr lang="pl-PL" dirty="0"/>
              <a:t>Burden of IT</a:t>
            </a:r>
          </a:p>
          <a:p>
            <a:pPr marL="285750" indent="-285750">
              <a:buFontTx/>
              <a:buChar char="-"/>
            </a:pPr>
            <a:r>
              <a:rPr lang="pl-PL" dirty="0"/>
              <a:t>Maintain/upgrade hardware</a:t>
            </a:r>
          </a:p>
          <a:p>
            <a:pPr marL="285750" indent="-285750">
              <a:buFontTx/>
              <a:buChar char="-"/>
            </a:pPr>
            <a:r>
              <a:rPr lang="pl-PL" dirty="0"/>
              <a:t>Maintain/upgrade network</a:t>
            </a:r>
          </a:p>
          <a:p>
            <a:pPr marL="285750" indent="-285750">
              <a:buFontTx/>
              <a:buChar char="-"/>
            </a:pPr>
            <a:r>
              <a:rPr lang="pl-PL" dirty="0"/>
              <a:t>Maintain/upgrade security</a:t>
            </a:r>
          </a:p>
          <a:p>
            <a:pPr marL="285750" indent="-285750">
              <a:buFontTx/>
              <a:buChar char="-"/>
            </a:pPr>
            <a:r>
              <a:rPr lang="pl-PL" dirty="0"/>
              <a:t>Maintain/upgrade database</a:t>
            </a:r>
            <a:endParaRPr lang="de-DE" dirty="0"/>
          </a:p>
          <a:p>
            <a:pPr marL="285750" indent="-285750">
              <a:buFontTx/>
              <a:buChar char="-"/>
            </a:pPr>
            <a:endParaRPr lang="de-DE" dirty="0"/>
          </a:p>
        </p:txBody>
      </p:sp>
      <p:sp>
        <p:nvSpPr>
          <p:cNvPr id="19" name="Rectangle 16">
            <a:extLst>
              <a:ext uri="{FF2B5EF4-FFF2-40B4-BE49-F238E27FC236}">
                <a16:creationId xmlns:a16="http://schemas.microsoft.com/office/drawing/2014/main" id="{E4C0D880-25A1-4D1B-92B7-2808E9C4A204}"/>
              </a:ext>
            </a:extLst>
          </p:cNvPr>
          <p:cNvSpPr>
            <a:spLocks/>
          </p:cNvSpPr>
          <p:nvPr>
            <p:custDataLst>
              <p:tags r:id="rId6"/>
            </p:custDataLst>
          </p:nvPr>
        </p:nvSpPr>
        <p:spPr>
          <a:xfrm>
            <a:off x="6239708" y="1967398"/>
            <a:ext cx="3743325" cy="3529010"/>
          </a:xfrm>
          <a:prstGeom prst="rect">
            <a:avLst/>
          </a:prstGeom>
          <a:solidFill>
            <a:schemeClr val="bg1"/>
          </a:solidFill>
          <a:ln w="952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marL="285750" indent="-285750">
              <a:buFontTx/>
              <a:buChar char="-"/>
            </a:pPr>
            <a:r>
              <a:rPr lang="pl-PL" dirty="0"/>
              <a:t>Pay as you use</a:t>
            </a:r>
          </a:p>
          <a:p>
            <a:pPr marL="285750" indent="-285750">
              <a:buFontTx/>
              <a:buChar char="-"/>
            </a:pPr>
            <a:r>
              <a:rPr lang="pl-PL" dirty="0"/>
              <a:t>Subscription fee</a:t>
            </a:r>
          </a:p>
          <a:p>
            <a:pPr marL="285750" indent="-285750">
              <a:buFontTx/>
              <a:buChar char="-"/>
            </a:pPr>
            <a:r>
              <a:rPr lang="pl-PL" dirty="0"/>
              <a:t>Implementation</a:t>
            </a:r>
          </a:p>
          <a:p>
            <a:pPr marL="285750" indent="-285750">
              <a:buFontTx/>
              <a:buChar char="-"/>
            </a:pPr>
            <a:r>
              <a:rPr lang="pl-PL" dirty="0"/>
              <a:t>Customization &amp; Training</a:t>
            </a:r>
            <a:endParaRPr lang="de-DE" dirty="0"/>
          </a:p>
        </p:txBody>
      </p:sp>
    </p:spTree>
    <p:extLst>
      <p:ext uri="{BB962C8B-B14F-4D97-AF65-F5344CB8AC3E}">
        <p14:creationId xmlns:p14="http://schemas.microsoft.com/office/powerpoint/2010/main" val="1632490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dirty="0"/>
              <a:t>Benefits of cloud computing</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5</a:t>
            </a:fld>
            <a:endParaRPr lang="en-US" dirty="0"/>
          </a:p>
        </p:txBody>
      </p:sp>
      <p:sp>
        <p:nvSpPr>
          <p:cNvPr id="105" name="Oval 319">
            <a:extLst>
              <a:ext uri="{FF2B5EF4-FFF2-40B4-BE49-F238E27FC236}">
                <a16:creationId xmlns:a16="http://schemas.microsoft.com/office/drawing/2014/main" id="{69B39BAD-41DC-467A-A500-479DB5AAB507}"/>
              </a:ext>
            </a:extLst>
          </p:cNvPr>
          <p:cNvSpPr/>
          <p:nvPr/>
        </p:nvSpPr>
        <p:spPr bwMode="auto">
          <a:xfrm>
            <a:off x="4439770" y="2359481"/>
            <a:ext cx="3312460" cy="3240450"/>
          </a:xfrm>
          <a:prstGeom prst="ellipse">
            <a:avLst/>
          </a:prstGeom>
          <a:solidFill>
            <a:srgbClr val="FFFFFF"/>
          </a:solidFill>
          <a:ln w="12700" cap="flat" cmpd="sng" algn="ctr">
            <a:solidFill>
              <a:srgbClr val="6A1A41"/>
            </a:solidFill>
            <a:prstDash val="dash"/>
          </a:ln>
          <a:effectLst/>
        </p:spPr>
        <p:txBody>
          <a:bodyPr rtlCol="0" anchor="ctr"/>
          <a:lstStyle/>
          <a:p>
            <a:pPr algn="ctr">
              <a:spcAft>
                <a:spcPts val="300"/>
              </a:spcAft>
              <a:defRPr/>
            </a:pPr>
            <a:endParaRPr lang="en-GB" sz="1400" kern="0" dirty="0" err="1">
              <a:solidFill>
                <a:srgbClr val="000000">
                  <a:lumMod val="85000"/>
                  <a:lumOff val="15000"/>
                </a:srgbClr>
              </a:solidFill>
            </a:endParaRPr>
          </a:p>
        </p:txBody>
      </p:sp>
      <p:sp>
        <p:nvSpPr>
          <p:cNvPr id="106" name="Freeform 7">
            <a:extLst>
              <a:ext uri="{FF2B5EF4-FFF2-40B4-BE49-F238E27FC236}">
                <a16:creationId xmlns:a16="http://schemas.microsoft.com/office/drawing/2014/main" id="{1DB97B8D-1109-4C23-8B6D-2A48D20D7C19}"/>
              </a:ext>
            </a:extLst>
          </p:cNvPr>
          <p:cNvSpPr>
            <a:spLocks/>
          </p:cNvSpPr>
          <p:nvPr/>
        </p:nvSpPr>
        <p:spPr bwMode="auto">
          <a:xfrm>
            <a:off x="4693359" y="2582406"/>
            <a:ext cx="2805282" cy="2794603"/>
          </a:xfrm>
          <a:custGeom>
            <a:avLst/>
            <a:gdLst/>
            <a:ahLst/>
            <a:cxnLst>
              <a:cxn ang="0">
                <a:pos x="561" y="0"/>
              </a:cxn>
              <a:cxn ang="0">
                <a:pos x="325" y="1041"/>
              </a:cxn>
              <a:cxn ang="0">
                <a:pos x="988" y="204"/>
              </a:cxn>
              <a:cxn ang="0">
                <a:pos x="25" y="671"/>
              </a:cxn>
              <a:cxn ang="0">
                <a:pos x="1089" y="673"/>
              </a:cxn>
              <a:cxn ang="0">
                <a:pos x="133" y="205"/>
              </a:cxn>
              <a:cxn ang="0">
                <a:pos x="797" y="1037"/>
              </a:cxn>
              <a:cxn ang="0">
                <a:pos x="561" y="0"/>
              </a:cxn>
            </a:cxnLst>
            <a:rect l="0" t="0" r="r" b="b"/>
            <a:pathLst>
              <a:path w="1112" h="1108">
                <a:moveTo>
                  <a:pt x="561" y="0"/>
                </a:moveTo>
                <a:cubicBezTo>
                  <a:pt x="407" y="0"/>
                  <a:pt x="184" y="971"/>
                  <a:pt x="325" y="1041"/>
                </a:cubicBezTo>
                <a:cubicBezTo>
                  <a:pt x="459" y="1108"/>
                  <a:pt x="1082" y="323"/>
                  <a:pt x="988" y="204"/>
                </a:cubicBezTo>
                <a:cubicBezTo>
                  <a:pt x="896" y="89"/>
                  <a:pt x="0" y="518"/>
                  <a:pt x="25" y="671"/>
                </a:cubicBezTo>
                <a:cubicBezTo>
                  <a:pt x="48" y="812"/>
                  <a:pt x="1068" y="812"/>
                  <a:pt x="1089" y="673"/>
                </a:cubicBezTo>
                <a:cubicBezTo>
                  <a:pt x="1112" y="517"/>
                  <a:pt x="222" y="92"/>
                  <a:pt x="133" y="205"/>
                </a:cubicBezTo>
                <a:cubicBezTo>
                  <a:pt x="37" y="327"/>
                  <a:pt x="661" y="1101"/>
                  <a:pt x="797" y="1037"/>
                </a:cubicBezTo>
                <a:cubicBezTo>
                  <a:pt x="934" y="973"/>
                  <a:pt x="717" y="0"/>
                  <a:pt x="561" y="0"/>
                </a:cubicBezTo>
                <a:close/>
              </a:path>
            </a:pathLst>
          </a:custGeom>
          <a:noFill/>
          <a:ln w="15875" cap="flat">
            <a:solidFill>
              <a:schemeClr val="accent5">
                <a:lumMod val="60000"/>
                <a:lumOff val="4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7" name="ZoomShape">
            <a:extLst>
              <a:ext uri="{FF2B5EF4-FFF2-40B4-BE49-F238E27FC236}">
                <a16:creationId xmlns:a16="http://schemas.microsoft.com/office/drawing/2014/main" id="{53A0CA2F-7BD8-49C1-B33B-80E113A6E6B5}"/>
              </a:ext>
            </a:extLst>
          </p:cNvPr>
          <p:cNvSpPr/>
          <p:nvPr>
            <p:custDataLst>
              <p:tags r:id="rId1"/>
            </p:custDataLst>
          </p:nvPr>
        </p:nvSpPr>
        <p:spPr>
          <a:xfrm rot="20505174">
            <a:off x="3734630" y="2198134"/>
            <a:ext cx="1230020" cy="1213000"/>
          </a:xfrm>
          <a:custGeom>
            <a:avLst/>
            <a:gdLst>
              <a:gd name="connsiteX0" fmla="*/ 2469989 w 2469989"/>
              <a:gd name="connsiteY0" fmla="*/ 2275950 h 2275950"/>
              <a:gd name="connsiteX1" fmla="*/ 0 w 2469989"/>
              <a:gd name="connsiteY1" fmla="*/ 0 h 2275950"/>
              <a:gd name="connsiteX2" fmla="*/ 0 w 2469989"/>
              <a:gd name="connsiteY2" fmla="*/ 0 h 2275950"/>
              <a:gd name="connsiteX3" fmla="*/ 0 w 2469989"/>
              <a:gd name="connsiteY3" fmla="*/ 0 h 2275950"/>
              <a:gd name="connsiteX0" fmla="*/ 2469989 w 3827940"/>
              <a:gd name="connsiteY0" fmla="*/ 2275950 h 2275950"/>
              <a:gd name="connsiteX1" fmla="*/ 3827940 w 3827940"/>
              <a:gd name="connsiteY1" fmla="*/ 1484730 h 2275950"/>
              <a:gd name="connsiteX2" fmla="*/ 0 w 3827940"/>
              <a:gd name="connsiteY2" fmla="*/ 0 h 2275950"/>
              <a:gd name="connsiteX3" fmla="*/ 0 w 3827940"/>
              <a:gd name="connsiteY3" fmla="*/ 0 h 2275950"/>
              <a:gd name="connsiteX0" fmla="*/ 2469989 w 3827940"/>
              <a:gd name="connsiteY0" fmla="*/ 2275950 h 2341529"/>
              <a:gd name="connsiteX1" fmla="*/ 3827940 w 3827940"/>
              <a:gd name="connsiteY1" fmla="*/ 1484730 h 2341529"/>
              <a:gd name="connsiteX2" fmla="*/ 3827939 w 3827940"/>
              <a:gd name="connsiteY2" fmla="*/ 2341529 h 2341529"/>
              <a:gd name="connsiteX3" fmla="*/ 0 w 3827940"/>
              <a:gd name="connsiteY3" fmla="*/ 0 h 2341529"/>
              <a:gd name="connsiteX0" fmla="*/ 0 w 1357951"/>
              <a:gd name="connsiteY0" fmla="*/ 791220 h 1648020"/>
              <a:gd name="connsiteX1" fmla="*/ 1357951 w 1357951"/>
              <a:gd name="connsiteY1" fmla="*/ 0 h 1648020"/>
              <a:gd name="connsiteX2" fmla="*/ 1357950 w 1357951"/>
              <a:gd name="connsiteY2" fmla="*/ 856799 h 1648020"/>
              <a:gd name="connsiteX3" fmla="*/ 0 w 1357951"/>
              <a:gd name="connsiteY3" fmla="*/ 1648020 h 1648020"/>
              <a:gd name="connsiteX0" fmla="*/ 0 w 1357951"/>
              <a:gd name="connsiteY0" fmla="*/ 791220 h 2160299"/>
              <a:gd name="connsiteX1" fmla="*/ 1357951 w 1357951"/>
              <a:gd name="connsiteY1" fmla="*/ 0 h 2160299"/>
              <a:gd name="connsiteX2" fmla="*/ 1230951 w 1357951"/>
              <a:gd name="connsiteY2" fmla="*/ 2160299 h 2160299"/>
              <a:gd name="connsiteX3" fmla="*/ 0 w 1357951"/>
              <a:gd name="connsiteY3" fmla="*/ 1648020 h 2160299"/>
              <a:gd name="connsiteX0" fmla="*/ 0 w 1230951"/>
              <a:gd name="connsiteY0" fmla="*/ 0 h 1369079"/>
              <a:gd name="connsiteX1" fmla="*/ 1230951 w 1230951"/>
              <a:gd name="connsiteY1" fmla="*/ 1153049 h 1369079"/>
              <a:gd name="connsiteX2" fmla="*/ 1230951 w 1230951"/>
              <a:gd name="connsiteY2" fmla="*/ 1369079 h 1369079"/>
              <a:gd name="connsiteX3" fmla="*/ 0 w 1230951"/>
              <a:gd name="connsiteY3" fmla="*/ 856800 h 1369079"/>
              <a:gd name="connsiteX0" fmla="*/ 0 w 1312071"/>
              <a:gd name="connsiteY0" fmla="*/ 0 h 1369079"/>
              <a:gd name="connsiteX1" fmla="*/ 1312071 w 1312071"/>
              <a:gd name="connsiteY1" fmla="*/ 1127649 h 1369079"/>
              <a:gd name="connsiteX2" fmla="*/ 1230951 w 1312071"/>
              <a:gd name="connsiteY2" fmla="*/ 1369079 h 1369079"/>
              <a:gd name="connsiteX3" fmla="*/ 0 w 1312071"/>
              <a:gd name="connsiteY3" fmla="*/ 856800 h 136907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800 h 139701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799 h 1397019"/>
              <a:gd name="connsiteX0" fmla="*/ 0 w 1312071"/>
              <a:gd name="connsiteY0" fmla="*/ 0 h 1397019"/>
              <a:gd name="connsiteX1" fmla="*/ 1312071 w 1312071"/>
              <a:gd name="connsiteY1" fmla="*/ 1127649 h 1397019"/>
              <a:gd name="connsiteX2" fmla="*/ 1169991 w 1312071"/>
              <a:gd name="connsiteY2" fmla="*/ 1397019 h 1397019"/>
              <a:gd name="connsiteX3" fmla="*/ 9051 w 1312071"/>
              <a:gd name="connsiteY3" fmla="*/ 782209 h 139701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648979 h 1397019"/>
              <a:gd name="connsiteX0" fmla="*/ 0 w 1312071"/>
              <a:gd name="connsiteY0" fmla="*/ 0 h 1378373"/>
              <a:gd name="connsiteX1" fmla="*/ 1312071 w 1312071"/>
              <a:gd name="connsiteY1" fmla="*/ 1109003 h 1378373"/>
              <a:gd name="connsiteX2" fmla="*/ 1169991 w 1312071"/>
              <a:gd name="connsiteY2" fmla="*/ 1378373 h 1378373"/>
              <a:gd name="connsiteX3" fmla="*/ 0 w 1312071"/>
              <a:gd name="connsiteY3" fmla="*/ 630333 h 1378373"/>
              <a:gd name="connsiteX0" fmla="*/ 14410 w 1326481"/>
              <a:gd name="connsiteY0" fmla="*/ 0 h 1378373"/>
              <a:gd name="connsiteX1" fmla="*/ 0 w 1326481"/>
              <a:gd name="connsiteY1" fmla="*/ 36158 h 1378373"/>
              <a:gd name="connsiteX2" fmla="*/ 1326481 w 1326481"/>
              <a:gd name="connsiteY2" fmla="*/ 1109003 h 1378373"/>
              <a:gd name="connsiteX3" fmla="*/ 1184401 w 1326481"/>
              <a:gd name="connsiteY3" fmla="*/ 1378373 h 1378373"/>
              <a:gd name="connsiteX4" fmla="*/ 14410 w 1326481"/>
              <a:gd name="connsiteY4" fmla="*/ 630333 h 1378373"/>
              <a:gd name="connsiteX0" fmla="*/ 0 w 1312071"/>
              <a:gd name="connsiteY0" fmla="*/ 0 h 1378373"/>
              <a:gd name="connsiteX1" fmla="*/ 52646 w 1312071"/>
              <a:gd name="connsiteY1" fmla="*/ 36158 h 1378373"/>
              <a:gd name="connsiteX2" fmla="*/ 1312071 w 1312071"/>
              <a:gd name="connsiteY2" fmla="*/ 1109003 h 1378373"/>
              <a:gd name="connsiteX3" fmla="*/ 1169991 w 1312071"/>
              <a:gd name="connsiteY3" fmla="*/ 1378373 h 1378373"/>
              <a:gd name="connsiteX4" fmla="*/ 0 w 1312071"/>
              <a:gd name="connsiteY4" fmla="*/ 630333 h 1378373"/>
              <a:gd name="connsiteX0" fmla="*/ 0 w 1312071"/>
              <a:gd name="connsiteY0" fmla="*/ 0 h 1378373"/>
              <a:gd name="connsiteX1" fmla="*/ 52646 w 1312071"/>
              <a:gd name="connsiteY1" fmla="*/ 36158 h 1378373"/>
              <a:gd name="connsiteX2" fmla="*/ 1312071 w 1312071"/>
              <a:gd name="connsiteY2" fmla="*/ 1164097 h 1378373"/>
              <a:gd name="connsiteX3" fmla="*/ 1169991 w 1312071"/>
              <a:gd name="connsiteY3" fmla="*/ 1378373 h 1378373"/>
              <a:gd name="connsiteX4" fmla="*/ 0 w 1312071"/>
              <a:gd name="connsiteY4" fmla="*/ 630333 h 1378373"/>
              <a:gd name="connsiteX0" fmla="*/ 0 w 1312071"/>
              <a:gd name="connsiteY0" fmla="*/ 0 h 1375644"/>
              <a:gd name="connsiteX1" fmla="*/ 52646 w 1312071"/>
              <a:gd name="connsiteY1" fmla="*/ 36158 h 1375644"/>
              <a:gd name="connsiteX2" fmla="*/ 1312071 w 1312071"/>
              <a:gd name="connsiteY2" fmla="*/ 1164097 h 1375644"/>
              <a:gd name="connsiteX3" fmla="*/ 1186831 w 1312071"/>
              <a:gd name="connsiteY3" fmla="*/ 1375644 h 1375644"/>
              <a:gd name="connsiteX4" fmla="*/ 0 w 1312071"/>
              <a:gd name="connsiteY4" fmla="*/ 630333 h 1375644"/>
              <a:gd name="connsiteX0" fmla="*/ 0 w 1230020"/>
              <a:gd name="connsiteY0" fmla="*/ 0 h 1375644"/>
              <a:gd name="connsiteX1" fmla="*/ 52646 w 1230020"/>
              <a:gd name="connsiteY1" fmla="*/ 36158 h 1375644"/>
              <a:gd name="connsiteX2" fmla="*/ 1230020 w 1230020"/>
              <a:gd name="connsiteY2" fmla="*/ 1098770 h 1375644"/>
              <a:gd name="connsiteX3" fmla="*/ 1186831 w 1230020"/>
              <a:gd name="connsiteY3" fmla="*/ 1375644 h 1375644"/>
              <a:gd name="connsiteX4" fmla="*/ 0 w 1230020"/>
              <a:gd name="connsiteY4" fmla="*/ 630333 h 1375644"/>
              <a:gd name="connsiteX0" fmla="*/ 0 w 1230020"/>
              <a:gd name="connsiteY0" fmla="*/ 0 h 1213000"/>
              <a:gd name="connsiteX1" fmla="*/ 52646 w 1230020"/>
              <a:gd name="connsiteY1" fmla="*/ 36158 h 1213000"/>
              <a:gd name="connsiteX2" fmla="*/ 1230020 w 1230020"/>
              <a:gd name="connsiteY2" fmla="*/ 1098770 h 1213000"/>
              <a:gd name="connsiteX3" fmla="*/ 1116535 w 1230020"/>
              <a:gd name="connsiteY3" fmla="*/ 1213000 h 1213000"/>
              <a:gd name="connsiteX4" fmla="*/ 0 w 1230020"/>
              <a:gd name="connsiteY4" fmla="*/ 630333 h 121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0020" h="1213000">
                <a:moveTo>
                  <a:pt x="0" y="0"/>
                </a:moveTo>
                <a:lnTo>
                  <a:pt x="52646" y="36158"/>
                </a:lnTo>
                <a:lnTo>
                  <a:pt x="1230020" y="1098770"/>
                </a:lnTo>
                <a:lnTo>
                  <a:pt x="1116535" y="1213000"/>
                </a:lnTo>
                <a:lnTo>
                  <a:pt x="0" y="630333"/>
                </a:lnTo>
              </a:path>
            </a:pathLst>
          </a:custGeom>
          <a:gradFill flip="none" rotWithShape="1">
            <a:gsLst>
              <a:gs pos="43000">
                <a:schemeClr val="accent4">
                  <a:alpha val="60000"/>
                </a:schemeClr>
              </a:gs>
              <a:gs pos="100000">
                <a:schemeClr val="accent4">
                  <a:lumMod val="20000"/>
                  <a:lumOff val="80000"/>
                  <a:alpha val="62000"/>
                </a:schemeClr>
              </a:gs>
            </a:gsLst>
            <a:lin ang="10800000" scaled="1"/>
            <a:tileRect/>
          </a:gradFill>
          <a:ln w="9525" cap="flat" cmpd="sng" algn="ctr">
            <a:solidFill>
              <a:srgbClr val="85888B"/>
            </a:solidFill>
            <a:prstDash val="dash"/>
          </a:ln>
          <a:effectLst/>
        </p:spPr>
        <p:txBody>
          <a:bodyPr rtlCol="0" anchor="ctr"/>
          <a:lstStyle/>
          <a:p>
            <a:pPr algn="ctr">
              <a:defRPr/>
            </a:pPr>
            <a:endParaRPr lang="en-GB" kern="0">
              <a:solidFill>
                <a:srgbClr val="000000"/>
              </a:solidFill>
            </a:endParaRPr>
          </a:p>
        </p:txBody>
      </p:sp>
      <p:sp>
        <p:nvSpPr>
          <p:cNvPr id="108" name="ZoomShape">
            <a:extLst>
              <a:ext uri="{FF2B5EF4-FFF2-40B4-BE49-F238E27FC236}">
                <a16:creationId xmlns:a16="http://schemas.microsoft.com/office/drawing/2014/main" id="{7AB6CD25-0B4A-4B49-B1A3-B2E06520DB4F}"/>
              </a:ext>
            </a:extLst>
          </p:cNvPr>
          <p:cNvSpPr/>
          <p:nvPr>
            <p:custDataLst>
              <p:tags r:id="rId2"/>
            </p:custDataLst>
          </p:nvPr>
        </p:nvSpPr>
        <p:spPr>
          <a:xfrm rot="20763617">
            <a:off x="3449220" y="3902163"/>
            <a:ext cx="1292702" cy="638710"/>
          </a:xfrm>
          <a:custGeom>
            <a:avLst/>
            <a:gdLst>
              <a:gd name="connsiteX0" fmla="*/ 2469989 w 2469989"/>
              <a:gd name="connsiteY0" fmla="*/ 2275950 h 2275950"/>
              <a:gd name="connsiteX1" fmla="*/ 0 w 2469989"/>
              <a:gd name="connsiteY1" fmla="*/ 0 h 2275950"/>
              <a:gd name="connsiteX2" fmla="*/ 0 w 2469989"/>
              <a:gd name="connsiteY2" fmla="*/ 0 h 2275950"/>
              <a:gd name="connsiteX3" fmla="*/ 0 w 2469989"/>
              <a:gd name="connsiteY3" fmla="*/ 0 h 2275950"/>
              <a:gd name="connsiteX0" fmla="*/ 2469989 w 3827940"/>
              <a:gd name="connsiteY0" fmla="*/ 2275950 h 2275950"/>
              <a:gd name="connsiteX1" fmla="*/ 3827940 w 3827940"/>
              <a:gd name="connsiteY1" fmla="*/ 1484730 h 2275950"/>
              <a:gd name="connsiteX2" fmla="*/ 0 w 3827940"/>
              <a:gd name="connsiteY2" fmla="*/ 0 h 2275950"/>
              <a:gd name="connsiteX3" fmla="*/ 0 w 3827940"/>
              <a:gd name="connsiteY3" fmla="*/ 0 h 2275950"/>
              <a:gd name="connsiteX0" fmla="*/ 2469989 w 3827940"/>
              <a:gd name="connsiteY0" fmla="*/ 2275950 h 2341529"/>
              <a:gd name="connsiteX1" fmla="*/ 3827940 w 3827940"/>
              <a:gd name="connsiteY1" fmla="*/ 1484730 h 2341529"/>
              <a:gd name="connsiteX2" fmla="*/ 3827939 w 3827940"/>
              <a:gd name="connsiteY2" fmla="*/ 2341529 h 2341529"/>
              <a:gd name="connsiteX3" fmla="*/ 0 w 3827940"/>
              <a:gd name="connsiteY3" fmla="*/ 0 h 2341529"/>
              <a:gd name="connsiteX0" fmla="*/ 0 w 1357951"/>
              <a:gd name="connsiteY0" fmla="*/ 791220 h 1648020"/>
              <a:gd name="connsiteX1" fmla="*/ 1357951 w 1357951"/>
              <a:gd name="connsiteY1" fmla="*/ 0 h 1648020"/>
              <a:gd name="connsiteX2" fmla="*/ 1357950 w 1357951"/>
              <a:gd name="connsiteY2" fmla="*/ 856799 h 1648020"/>
              <a:gd name="connsiteX3" fmla="*/ 0 w 1357951"/>
              <a:gd name="connsiteY3" fmla="*/ 1648020 h 1648020"/>
              <a:gd name="connsiteX0" fmla="*/ 0 w 1357951"/>
              <a:gd name="connsiteY0" fmla="*/ 791220 h 2160299"/>
              <a:gd name="connsiteX1" fmla="*/ 1357951 w 1357951"/>
              <a:gd name="connsiteY1" fmla="*/ 0 h 2160299"/>
              <a:gd name="connsiteX2" fmla="*/ 1230951 w 1357951"/>
              <a:gd name="connsiteY2" fmla="*/ 2160299 h 2160299"/>
              <a:gd name="connsiteX3" fmla="*/ 0 w 1357951"/>
              <a:gd name="connsiteY3" fmla="*/ 1648020 h 2160299"/>
              <a:gd name="connsiteX0" fmla="*/ 0 w 1230951"/>
              <a:gd name="connsiteY0" fmla="*/ 0 h 1369079"/>
              <a:gd name="connsiteX1" fmla="*/ 1230951 w 1230951"/>
              <a:gd name="connsiteY1" fmla="*/ 1153049 h 1369079"/>
              <a:gd name="connsiteX2" fmla="*/ 1230951 w 1230951"/>
              <a:gd name="connsiteY2" fmla="*/ 1369079 h 1369079"/>
              <a:gd name="connsiteX3" fmla="*/ 0 w 1230951"/>
              <a:gd name="connsiteY3" fmla="*/ 856800 h 1369079"/>
              <a:gd name="connsiteX0" fmla="*/ 0 w 1312071"/>
              <a:gd name="connsiteY0" fmla="*/ 0 h 1369079"/>
              <a:gd name="connsiteX1" fmla="*/ 1312071 w 1312071"/>
              <a:gd name="connsiteY1" fmla="*/ 1127649 h 1369079"/>
              <a:gd name="connsiteX2" fmla="*/ 1230951 w 1312071"/>
              <a:gd name="connsiteY2" fmla="*/ 1369079 h 1369079"/>
              <a:gd name="connsiteX3" fmla="*/ 0 w 1312071"/>
              <a:gd name="connsiteY3" fmla="*/ 856800 h 136907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800 h 139701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799 h 1397019"/>
              <a:gd name="connsiteX0" fmla="*/ 0 w 1312071"/>
              <a:gd name="connsiteY0" fmla="*/ 0 h 1397019"/>
              <a:gd name="connsiteX1" fmla="*/ 1312071 w 1312071"/>
              <a:gd name="connsiteY1" fmla="*/ 1127649 h 1397019"/>
              <a:gd name="connsiteX2" fmla="*/ 1169991 w 1312071"/>
              <a:gd name="connsiteY2" fmla="*/ 1397019 h 1397019"/>
              <a:gd name="connsiteX3" fmla="*/ 9051 w 1312071"/>
              <a:gd name="connsiteY3" fmla="*/ 782209 h 1397019"/>
              <a:gd name="connsiteX0" fmla="*/ 68416 w 1380487"/>
              <a:gd name="connsiteY0" fmla="*/ 0 h 1524738"/>
              <a:gd name="connsiteX1" fmla="*/ 1380487 w 1380487"/>
              <a:gd name="connsiteY1" fmla="*/ 1127649 h 1524738"/>
              <a:gd name="connsiteX2" fmla="*/ 1238407 w 1380487"/>
              <a:gd name="connsiteY2" fmla="*/ 1397019 h 1524738"/>
              <a:gd name="connsiteX3" fmla="*/ 0 w 1380487"/>
              <a:gd name="connsiteY3" fmla="*/ 1524738 h 1524738"/>
              <a:gd name="connsiteX0" fmla="*/ 0 w 1380651"/>
              <a:gd name="connsiteY0" fmla="*/ 0 h 770358"/>
              <a:gd name="connsiteX1" fmla="*/ 1380651 w 1380651"/>
              <a:gd name="connsiteY1" fmla="*/ 373269 h 770358"/>
              <a:gd name="connsiteX2" fmla="*/ 1238571 w 1380651"/>
              <a:gd name="connsiteY2" fmla="*/ 642639 h 770358"/>
              <a:gd name="connsiteX3" fmla="*/ 164 w 1380651"/>
              <a:gd name="connsiteY3" fmla="*/ 770358 h 770358"/>
              <a:gd name="connsiteX0" fmla="*/ 0 w 1380651"/>
              <a:gd name="connsiteY0" fmla="*/ 0 h 770358"/>
              <a:gd name="connsiteX1" fmla="*/ 1380651 w 1380651"/>
              <a:gd name="connsiteY1" fmla="*/ 373269 h 770358"/>
              <a:gd name="connsiteX2" fmla="*/ 1330011 w 1380651"/>
              <a:gd name="connsiteY2" fmla="*/ 581679 h 770358"/>
              <a:gd name="connsiteX3" fmla="*/ 164 w 1380651"/>
              <a:gd name="connsiteY3" fmla="*/ 770358 h 770358"/>
              <a:gd name="connsiteX0" fmla="*/ 0 w 1330011"/>
              <a:gd name="connsiteY0" fmla="*/ 0 h 770358"/>
              <a:gd name="connsiteX1" fmla="*/ 1312071 w 1330011"/>
              <a:gd name="connsiteY1" fmla="*/ 396129 h 770358"/>
              <a:gd name="connsiteX2" fmla="*/ 1330011 w 1330011"/>
              <a:gd name="connsiteY2" fmla="*/ 581679 h 770358"/>
              <a:gd name="connsiteX3" fmla="*/ 164 w 1330011"/>
              <a:gd name="connsiteY3" fmla="*/ 770358 h 770358"/>
              <a:gd name="connsiteX0" fmla="*/ 0 w 1330011"/>
              <a:gd name="connsiteY0" fmla="*/ 0 h 592177"/>
              <a:gd name="connsiteX1" fmla="*/ 1312071 w 1330011"/>
              <a:gd name="connsiteY1" fmla="*/ 396129 h 592177"/>
              <a:gd name="connsiteX2" fmla="*/ 1330011 w 1330011"/>
              <a:gd name="connsiteY2" fmla="*/ 581679 h 592177"/>
              <a:gd name="connsiteX3" fmla="*/ 0 w 1330011"/>
              <a:gd name="connsiteY3" fmla="*/ 592177 h 592177"/>
              <a:gd name="connsiteX0" fmla="*/ 7363 w 1337374"/>
              <a:gd name="connsiteY0" fmla="*/ 0 h 581679"/>
              <a:gd name="connsiteX1" fmla="*/ 1319434 w 1337374"/>
              <a:gd name="connsiteY1" fmla="*/ 396129 h 581679"/>
              <a:gd name="connsiteX2" fmla="*/ 1337374 w 1337374"/>
              <a:gd name="connsiteY2" fmla="*/ 581679 h 581679"/>
              <a:gd name="connsiteX3" fmla="*/ 0 w 1337374"/>
              <a:gd name="connsiteY3" fmla="*/ 565507 h 581679"/>
              <a:gd name="connsiteX0" fmla="*/ 1267 w 1337374"/>
              <a:gd name="connsiteY0" fmla="*/ 0 h 618255"/>
              <a:gd name="connsiteX1" fmla="*/ 1319434 w 1337374"/>
              <a:gd name="connsiteY1" fmla="*/ 432705 h 618255"/>
              <a:gd name="connsiteX2" fmla="*/ 1337374 w 1337374"/>
              <a:gd name="connsiteY2" fmla="*/ 618255 h 618255"/>
              <a:gd name="connsiteX3" fmla="*/ 0 w 1337374"/>
              <a:gd name="connsiteY3" fmla="*/ 602083 h 618255"/>
              <a:gd name="connsiteX0" fmla="*/ 1267 w 1337374"/>
              <a:gd name="connsiteY0" fmla="*/ 0 h 618255"/>
              <a:gd name="connsiteX1" fmla="*/ 1202509 w 1337374"/>
              <a:gd name="connsiteY1" fmla="*/ 411695 h 618255"/>
              <a:gd name="connsiteX2" fmla="*/ 1337374 w 1337374"/>
              <a:gd name="connsiteY2" fmla="*/ 618255 h 618255"/>
              <a:gd name="connsiteX3" fmla="*/ 0 w 1337374"/>
              <a:gd name="connsiteY3" fmla="*/ 602083 h 618255"/>
              <a:gd name="connsiteX0" fmla="*/ 1267 w 1220356"/>
              <a:gd name="connsiteY0" fmla="*/ 0 h 638710"/>
              <a:gd name="connsiteX1" fmla="*/ 1202509 w 1220356"/>
              <a:gd name="connsiteY1" fmla="*/ 411695 h 638710"/>
              <a:gd name="connsiteX2" fmla="*/ 1220356 w 1220356"/>
              <a:gd name="connsiteY2" fmla="*/ 638710 h 638710"/>
              <a:gd name="connsiteX3" fmla="*/ 0 w 1220356"/>
              <a:gd name="connsiteY3" fmla="*/ 602083 h 638710"/>
              <a:gd name="connsiteX0" fmla="*/ 73613 w 1292702"/>
              <a:gd name="connsiteY0" fmla="*/ 0 h 638710"/>
              <a:gd name="connsiteX1" fmla="*/ 1274855 w 1292702"/>
              <a:gd name="connsiteY1" fmla="*/ 411695 h 638710"/>
              <a:gd name="connsiteX2" fmla="*/ 1292702 w 1292702"/>
              <a:gd name="connsiteY2" fmla="*/ 638710 h 638710"/>
              <a:gd name="connsiteX3" fmla="*/ 0 w 1292702"/>
              <a:gd name="connsiteY3" fmla="*/ 466237 h 638710"/>
            </a:gdLst>
            <a:ahLst/>
            <a:cxnLst>
              <a:cxn ang="0">
                <a:pos x="connsiteX0" y="connsiteY0"/>
              </a:cxn>
              <a:cxn ang="0">
                <a:pos x="connsiteX1" y="connsiteY1"/>
              </a:cxn>
              <a:cxn ang="0">
                <a:pos x="connsiteX2" y="connsiteY2"/>
              </a:cxn>
              <a:cxn ang="0">
                <a:pos x="connsiteX3" y="connsiteY3"/>
              </a:cxn>
            </a:cxnLst>
            <a:rect l="l" t="t" r="r" b="b"/>
            <a:pathLst>
              <a:path w="1292702" h="638710">
                <a:moveTo>
                  <a:pt x="73613" y="0"/>
                </a:moveTo>
                <a:lnTo>
                  <a:pt x="1274855" y="411695"/>
                </a:lnTo>
                <a:lnTo>
                  <a:pt x="1292702" y="638710"/>
                </a:lnTo>
                <a:lnTo>
                  <a:pt x="0" y="466237"/>
                </a:lnTo>
              </a:path>
            </a:pathLst>
          </a:custGeom>
          <a:gradFill flip="none" rotWithShape="1">
            <a:gsLst>
              <a:gs pos="0">
                <a:schemeClr val="accent2">
                  <a:alpha val="60000"/>
                </a:schemeClr>
              </a:gs>
              <a:gs pos="80000">
                <a:sysClr val="window" lastClr="FFFFFF">
                  <a:lumMod val="95000"/>
                </a:sysClr>
              </a:gs>
            </a:gsLst>
            <a:lin ang="10800000" scaled="1"/>
            <a:tileRect/>
          </a:gradFill>
          <a:ln w="9525" cap="flat" cmpd="sng" algn="ctr">
            <a:solidFill>
              <a:srgbClr val="85888B"/>
            </a:solidFill>
            <a:prstDash val="dash"/>
          </a:ln>
          <a:effectLst/>
        </p:spPr>
        <p:txBody>
          <a:bodyPr rtlCol="0" anchor="ctr"/>
          <a:lstStyle/>
          <a:p>
            <a:pPr algn="ctr">
              <a:defRPr/>
            </a:pPr>
            <a:endParaRPr lang="en-GB" kern="0">
              <a:solidFill>
                <a:srgbClr val="000000"/>
              </a:solidFill>
            </a:endParaRPr>
          </a:p>
        </p:txBody>
      </p:sp>
      <p:sp>
        <p:nvSpPr>
          <p:cNvPr id="122" name="ZoomShape">
            <a:extLst>
              <a:ext uri="{FF2B5EF4-FFF2-40B4-BE49-F238E27FC236}">
                <a16:creationId xmlns:a16="http://schemas.microsoft.com/office/drawing/2014/main" id="{950F019D-9E77-4E0F-A593-58CC1FBE2EB6}"/>
              </a:ext>
            </a:extLst>
          </p:cNvPr>
          <p:cNvSpPr/>
          <p:nvPr>
            <p:custDataLst>
              <p:tags r:id="rId3"/>
            </p:custDataLst>
          </p:nvPr>
        </p:nvSpPr>
        <p:spPr>
          <a:xfrm rot="20740750">
            <a:off x="4458763" y="5276842"/>
            <a:ext cx="1224863" cy="798324"/>
          </a:xfrm>
          <a:custGeom>
            <a:avLst/>
            <a:gdLst>
              <a:gd name="connsiteX0" fmla="*/ 2469989 w 2469989"/>
              <a:gd name="connsiteY0" fmla="*/ 2275950 h 2275950"/>
              <a:gd name="connsiteX1" fmla="*/ 0 w 2469989"/>
              <a:gd name="connsiteY1" fmla="*/ 0 h 2275950"/>
              <a:gd name="connsiteX2" fmla="*/ 0 w 2469989"/>
              <a:gd name="connsiteY2" fmla="*/ 0 h 2275950"/>
              <a:gd name="connsiteX3" fmla="*/ 0 w 2469989"/>
              <a:gd name="connsiteY3" fmla="*/ 0 h 2275950"/>
              <a:gd name="connsiteX0" fmla="*/ 2469989 w 3827940"/>
              <a:gd name="connsiteY0" fmla="*/ 2275950 h 2275950"/>
              <a:gd name="connsiteX1" fmla="*/ 3827940 w 3827940"/>
              <a:gd name="connsiteY1" fmla="*/ 1484730 h 2275950"/>
              <a:gd name="connsiteX2" fmla="*/ 0 w 3827940"/>
              <a:gd name="connsiteY2" fmla="*/ 0 h 2275950"/>
              <a:gd name="connsiteX3" fmla="*/ 0 w 3827940"/>
              <a:gd name="connsiteY3" fmla="*/ 0 h 2275950"/>
              <a:gd name="connsiteX0" fmla="*/ 2469989 w 3827940"/>
              <a:gd name="connsiteY0" fmla="*/ 2275950 h 2341529"/>
              <a:gd name="connsiteX1" fmla="*/ 3827940 w 3827940"/>
              <a:gd name="connsiteY1" fmla="*/ 1484730 h 2341529"/>
              <a:gd name="connsiteX2" fmla="*/ 3827939 w 3827940"/>
              <a:gd name="connsiteY2" fmla="*/ 2341529 h 2341529"/>
              <a:gd name="connsiteX3" fmla="*/ 0 w 3827940"/>
              <a:gd name="connsiteY3" fmla="*/ 0 h 2341529"/>
              <a:gd name="connsiteX0" fmla="*/ 0 w 1357951"/>
              <a:gd name="connsiteY0" fmla="*/ 791220 h 1648020"/>
              <a:gd name="connsiteX1" fmla="*/ 1357951 w 1357951"/>
              <a:gd name="connsiteY1" fmla="*/ 0 h 1648020"/>
              <a:gd name="connsiteX2" fmla="*/ 1357950 w 1357951"/>
              <a:gd name="connsiteY2" fmla="*/ 856799 h 1648020"/>
              <a:gd name="connsiteX3" fmla="*/ 0 w 1357951"/>
              <a:gd name="connsiteY3" fmla="*/ 1648020 h 1648020"/>
              <a:gd name="connsiteX0" fmla="*/ 0 w 1357951"/>
              <a:gd name="connsiteY0" fmla="*/ 791220 h 2160299"/>
              <a:gd name="connsiteX1" fmla="*/ 1357951 w 1357951"/>
              <a:gd name="connsiteY1" fmla="*/ 0 h 2160299"/>
              <a:gd name="connsiteX2" fmla="*/ 1230951 w 1357951"/>
              <a:gd name="connsiteY2" fmla="*/ 2160299 h 2160299"/>
              <a:gd name="connsiteX3" fmla="*/ 0 w 1357951"/>
              <a:gd name="connsiteY3" fmla="*/ 1648020 h 2160299"/>
              <a:gd name="connsiteX0" fmla="*/ 0 w 1230951"/>
              <a:gd name="connsiteY0" fmla="*/ 0 h 1369079"/>
              <a:gd name="connsiteX1" fmla="*/ 1230951 w 1230951"/>
              <a:gd name="connsiteY1" fmla="*/ 1153049 h 1369079"/>
              <a:gd name="connsiteX2" fmla="*/ 1230951 w 1230951"/>
              <a:gd name="connsiteY2" fmla="*/ 1369079 h 1369079"/>
              <a:gd name="connsiteX3" fmla="*/ 0 w 1230951"/>
              <a:gd name="connsiteY3" fmla="*/ 856800 h 1369079"/>
              <a:gd name="connsiteX0" fmla="*/ 0 w 1312071"/>
              <a:gd name="connsiteY0" fmla="*/ 0 h 1369079"/>
              <a:gd name="connsiteX1" fmla="*/ 1312071 w 1312071"/>
              <a:gd name="connsiteY1" fmla="*/ 1127649 h 1369079"/>
              <a:gd name="connsiteX2" fmla="*/ 1230951 w 1312071"/>
              <a:gd name="connsiteY2" fmla="*/ 1369079 h 1369079"/>
              <a:gd name="connsiteX3" fmla="*/ 0 w 1312071"/>
              <a:gd name="connsiteY3" fmla="*/ 856800 h 136907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800 h 139701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799 h 1397019"/>
              <a:gd name="connsiteX0" fmla="*/ 0 w 1312071"/>
              <a:gd name="connsiteY0" fmla="*/ 0 h 1397019"/>
              <a:gd name="connsiteX1" fmla="*/ 1312071 w 1312071"/>
              <a:gd name="connsiteY1" fmla="*/ 1127649 h 1397019"/>
              <a:gd name="connsiteX2" fmla="*/ 1169991 w 1312071"/>
              <a:gd name="connsiteY2" fmla="*/ 1397019 h 1397019"/>
              <a:gd name="connsiteX3" fmla="*/ 9051 w 1312071"/>
              <a:gd name="connsiteY3" fmla="*/ 782209 h 1397019"/>
              <a:gd name="connsiteX0" fmla="*/ 68416 w 1380487"/>
              <a:gd name="connsiteY0" fmla="*/ 0 h 1524738"/>
              <a:gd name="connsiteX1" fmla="*/ 1380487 w 1380487"/>
              <a:gd name="connsiteY1" fmla="*/ 1127649 h 1524738"/>
              <a:gd name="connsiteX2" fmla="*/ 1238407 w 1380487"/>
              <a:gd name="connsiteY2" fmla="*/ 1397019 h 1524738"/>
              <a:gd name="connsiteX3" fmla="*/ 0 w 1380487"/>
              <a:gd name="connsiteY3" fmla="*/ 1524738 h 1524738"/>
              <a:gd name="connsiteX0" fmla="*/ 0 w 1380651"/>
              <a:gd name="connsiteY0" fmla="*/ 0 h 770358"/>
              <a:gd name="connsiteX1" fmla="*/ 1380651 w 1380651"/>
              <a:gd name="connsiteY1" fmla="*/ 373269 h 770358"/>
              <a:gd name="connsiteX2" fmla="*/ 1238571 w 1380651"/>
              <a:gd name="connsiteY2" fmla="*/ 642639 h 770358"/>
              <a:gd name="connsiteX3" fmla="*/ 164 w 1380651"/>
              <a:gd name="connsiteY3" fmla="*/ 770358 h 770358"/>
              <a:gd name="connsiteX0" fmla="*/ 0 w 1380651"/>
              <a:gd name="connsiteY0" fmla="*/ 0 h 770358"/>
              <a:gd name="connsiteX1" fmla="*/ 1380651 w 1380651"/>
              <a:gd name="connsiteY1" fmla="*/ 373269 h 770358"/>
              <a:gd name="connsiteX2" fmla="*/ 1330011 w 1380651"/>
              <a:gd name="connsiteY2" fmla="*/ 581679 h 770358"/>
              <a:gd name="connsiteX3" fmla="*/ 164 w 1380651"/>
              <a:gd name="connsiteY3" fmla="*/ 770358 h 770358"/>
              <a:gd name="connsiteX0" fmla="*/ 0 w 1330011"/>
              <a:gd name="connsiteY0" fmla="*/ 0 h 770358"/>
              <a:gd name="connsiteX1" fmla="*/ 1312071 w 1330011"/>
              <a:gd name="connsiteY1" fmla="*/ 396129 h 770358"/>
              <a:gd name="connsiteX2" fmla="*/ 1330011 w 1330011"/>
              <a:gd name="connsiteY2" fmla="*/ 581679 h 770358"/>
              <a:gd name="connsiteX3" fmla="*/ 164 w 1330011"/>
              <a:gd name="connsiteY3" fmla="*/ 770358 h 770358"/>
              <a:gd name="connsiteX0" fmla="*/ 0 w 1330011"/>
              <a:gd name="connsiteY0" fmla="*/ 337166 h 1107524"/>
              <a:gd name="connsiteX1" fmla="*/ 1198917 w 1330011"/>
              <a:gd name="connsiteY1" fmla="*/ 0 h 1107524"/>
              <a:gd name="connsiteX2" fmla="*/ 1330011 w 1330011"/>
              <a:gd name="connsiteY2" fmla="*/ 918845 h 1107524"/>
              <a:gd name="connsiteX3" fmla="*/ 164 w 1330011"/>
              <a:gd name="connsiteY3" fmla="*/ 1107524 h 1107524"/>
              <a:gd name="connsiteX0" fmla="*/ 0 w 1369617"/>
              <a:gd name="connsiteY0" fmla="*/ 337166 h 1107524"/>
              <a:gd name="connsiteX1" fmla="*/ 1198917 w 1369617"/>
              <a:gd name="connsiteY1" fmla="*/ 0 h 1107524"/>
              <a:gd name="connsiteX2" fmla="*/ 1369617 w 1369617"/>
              <a:gd name="connsiteY2" fmla="*/ 167957 h 1107524"/>
              <a:gd name="connsiteX3" fmla="*/ 164 w 1369617"/>
              <a:gd name="connsiteY3" fmla="*/ 1107524 h 1107524"/>
              <a:gd name="connsiteX0" fmla="*/ 0 w 1369617"/>
              <a:gd name="connsiteY0" fmla="*/ 337166 h 936130"/>
              <a:gd name="connsiteX1" fmla="*/ 1198917 w 1369617"/>
              <a:gd name="connsiteY1" fmla="*/ 0 h 936130"/>
              <a:gd name="connsiteX2" fmla="*/ 1369617 w 1369617"/>
              <a:gd name="connsiteY2" fmla="*/ 167957 h 936130"/>
              <a:gd name="connsiteX3" fmla="*/ 0 w 1369617"/>
              <a:gd name="connsiteY3" fmla="*/ 936130 h 936130"/>
              <a:gd name="connsiteX0" fmla="*/ 0 w 1369617"/>
              <a:gd name="connsiteY0" fmla="*/ 379482 h 978446"/>
              <a:gd name="connsiteX1" fmla="*/ 1198917 w 1369617"/>
              <a:gd name="connsiteY1" fmla="*/ 0 h 978446"/>
              <a:gd name="connsiteX2" fmla="*/ 1369617 w 1369617"/>
              <a:gd name="connsiteY2" fmla="*/ 210273 h 978446"/>
              <a:gd name="connsiteX3" fmla="*/ 0 w 1369617"/>
              <a:gd name="connsiteY3" fmla="*/ 978446 h 978446"/>
              <a:gd name="connsiteX0" fmla="*/ 0 w 1270927"/>
              <a:gd name="connsiteY0" fmla="*/ 379482 h 978446"/>
              <a:gd name="connsiteX1" fmla="*/ 1198917 w 1270927"/>
              <a:gd name="connsiteY1" fmla="*/ 0 h 978446"/>
              <a:gd name="connsiteX2" fmla="*/ 1270927 w 1270927"/>
              <a:gd name="connsiteY2" fmla="*/ 144020 h 978446"/>
              <a:gd name="connsiteX3" fmla="*/ 0 w 1270927"/>
              <a:gd name="connsiteY3" fmla="*/ 978446 h 978446"/>
              <a:gd name="connsiteX0" fmla="*/ 0 w 1270927"/>
              <a:gd name="connsiteY0" fmla="*/ 235462 h 834426"/>
              <a:gd name="connsiteX1" fmla="*/ 1033358 w 1270927"/>
              <a:gd name="connsiteY1" fmla="*/ 18290 h 834426"/>
              <a:gd name="connsiteX2" fmla="*/ 1270927 w 1270927"/>
              <a:gd name="connsiteY2" fmla="*/ 0 h 834426"/>
              <a:gd name="connsiteX3" fmla="*/ 0 w 1270927"/>
              <a:gd name="connsiteY3" fmla="*/ 834426 h 834426"/>
              <a:gd name="connsiteX0" fmla="*/ 0 w 1224863"/>
              <a:gd name="connsiteY0" fmla="*/ 217172 h 816136"/>
              <a:gd name="connsiteX1" fmla="*/ 1033358 w 1224863"/>
              <a:gd name="connsiteY1" fmla="*/ 0 h 816136"/>
              <a:gd name="connsiteX2" fmla="*/ 1224863 w 1224863"/>
              <a:gd name="connsiteY2" fmla="*/ 123208 h 816136"/>
              <a:gd name="connsiteX3" fmla="*/ 0 w 1224863"/>
              <a:gd name="connsiteY3" fmla="*/ 816136 h 816136"/>
              <a:gd name="connsiteX0" fmla="*/ 0 w 1224863"/>
              <a:gd name="connsiteY0" fmla="*/ 199360 h 798324"/>
              <a:gd name="connsiteX1" fmla="*/ 1103129 w 1224863"/>
              <a:gd name="connsiteY1" fmla="*/ 0 h 798324"/>
              <a:gd name="connsiteX2" fmla="*/ 1224863 w 1224863"/>
              <a:gd name="connsiteY2" fmla="*/ 105396 h 798324"/>
              <a:gd name="connsiteX3" fmla="*/ 0 w 1224863"/>
              <a:gd name="connsiteY3" fmla="*/ 798324 h 798324"/>
            </a:gdLst>
            <a:ahLst/>
            <a:cxnLst>
              <a:cxn ang="0">
                <a:pos x="connsiteX0" y="connsiteY0"/>
              </a:cxn>
              <a:cxn ang="0">
                <a:pos x="connsiteX1" y="connsiteY1"/>
              </a:cxn>
              <a:cxn ang="0">
                <a:pos x="connsiteX2" y="connsiteY2"/>
              </a:cxn>
              <a:cxn ang="0">
                <a:pos x="connsiteX3" y="connsiteY3"/>
              </a:cxn>
            </a:cxnLst>
            <a:rect l="l" t="t" r="r" b="b"/>
            <a:pathLst>
              <a:path w="1224863" h="798324">
                <a:moveTo>
                  <a:pt x="0" y="199360"/>
                </a:moveTo>
                <a:lnTo>
                  <a:pt x="1103129" y="0"/>
                </a:lnTo>
                <a:lnTo>
                  <a:pt x="1224863" y="105396"/>
                </a:lnTo>
                <a:lnTo>
                  <a:pt x="0" y="798324"/>
                </a:lnTo>
              </a:path>
            </a:pathLst>
          </a:custGeom>
          <a:gradFill flip="none" rotWithShape="1">
            <a:gsLst>
              <a:gs pos="0">
                <a:srgbClr val="6A1A41">
                  <a:alpha val="65000"/>
                </a:srgbClr>
              </a:gs>
              <a:gs pos="80000">
                <a:sysClr val="window" lastClr="FFFFFF">
                  <a:lumMod val="95000"/>
                </a:sysClr>
              </a:gs>
            </a:gsLst>
            <a:lin ang="10800000" scaled="1"/>
            <a:tileRect/>
          </a:gradFill>
          <a:ln w="9525" cap="flat" cmpd="sng" algn="ctr">
            <a:solidFill>
              <a:srgbClr val="85888B"/>
            </a:solidFill>
            <a:prstDash val="dash"/>
          </a:ln>
          <a:effectLst/>
        </p:spPr>
        <p:txBody>
          <a:bodyPr rtlCol="0" anchor="ctr"/>
          <a:lstStyle/>
          <a:p>
            <a:pPr algn="ctr">
              <a:defRPr/>
            </a:pPr>
            <a:endParaRPr lang="en-GB" kern="0">
              <a:solidFill>
                <a:srgbClr val="000000"/>
              </a:solidFill>
            </a:endParaRPr>
          </a:p>
        </p:txBody>
      </p:sp>
      <p:sp>
        <p:nvSpPr>
          <p:cNvPr id="124" name="ZoomShape">
            <a:extLst>
              <a:ext uri="{FF2B5EF4-FFF2-40B4-BE49-F238E27FC236}">
                <a16:creationId xmlns:a16="http://schemas.microsoft.com/office/drawing/2014/main" id="{7C3E8AFD-FA0E-4568-8184-DBD2DB667B56}"/>
              </a:ext>
            </a:extLst>
          </p:cNvPr>
          <p:cNvSpPr/>
          <p:nvPr>
            <p:custDataLst>
              <p:tags r:id="rId4"/>
            </p:custDataLst>
          </p:nvPr>
        </p:nvSpPr>
        <p:spPr>
          <a:xfrm rot="885826" flipH="1">
            <a:off x="6577277" y="5268912"/>
            <a:ext cx="1139627" cy="809047"/>
          </a:xfrm>
          <a:custGeom>
            <a:avLst/>
            <a:gdLst>
              <a:gd name="connsiteX0" fmla="*/ 2469989 w 2469989"/>
              <a:gd name="connsiteY0" fmla="*/ 2275950 h 2275950"/>
              <a:gd name="connsiteX1" fmla="*/ 0 w 2469989"/>
              <a:gd name="connsiteY1" fmla="*/ 0 h 2275950"/>
              <a:gd name="connsiteX2" fmla="*/ 0 w 2469989"/>
              <a:gd name="connsiteY2" fmla="*/ 0 h 2275950"/>
              <a:gd name="connsiteX3" fmla="*/ 0 w 2469989"/>
              <a:gd name="connsiteY3" fmla="*/ 0 h 2275950"/>
              <a:gd name="connsiteX0" fmla="*/ 2469989 w 3827940"/>
              <a:gd name="connsiteY0" fmla="*/ 2275950 h 2275950"/>
              <a:gd name="connsiteX1" fmla="*/ 3827940 w 3827940"/>
              <a:gd name="connsiteY1" fmla="*/ 1484730 h 2275950"/>
              <a:gd name="connsiteX2" fmla="*/ 0 w 3827940"/>
              <a:gd name="connsiteY2" fmla="*/ 0 h 2275950"/>
              <a:gd name="connsiteX3" fmla="*/ 0 w 3827940"/>
              <a:gd name="connsiteY3" fmla="*/ 0 h 2275950"/>
              <a:gd name="connsiteX0" fmla="*/ 2469989 w 3827940"/>
              <a:gd name="connsiteY0" fmla="*/ 2275950 h 2341529"/>
              <a:gd name="connsiteX1" fmla="*/ 3827940 w 3827940"/>
              <a:gd name="connsiteY1" fmla="*/ 1484730 h 2341529"/>
              <a:gd name="connsiteX2" fmla="*/ 3827939 w 3827940"/>
              <a:gd name="connsiteY2" fmla="*/ 2341529 h 2341529"/>
              <a:gd name="connsiteX3" fmla="*/ 0 w 3827940"/>
              <a:gd name="connsiteY3" fmla="*/ 0 h 2341529"/>
              <a:gd name="connsiteX0" fmla="*/ 0 w 1357951"/>
              <a:gd name="connsiteY0" fmla="*/ 791220 h 1648020"/>
              <a:gd name="connsiteX1" fmla="*/ 1357951 w 1357951"/>
              <a:gd name="connsiteY1" fmla="*/ 0 h 1648020"/>
              <a:gd name="connsiteX2" fmla="*/ 1357950 w 1357951"/>
              <a:gd name="connsiteY2" fmla="*/ 856799 h 1648020"/>
              <a:gd name="connsiteX3" fmla="*/ 0 w 1357951"/>
              <a:gd name="connsiteY3" fmla="*/ 1648020 h 1648020"/>
              <a:gd name="connsiteX0" fmla="*/ 0 w 1357951"/>
              <a:gd name="connsiteY0" fmla="*/ 791220 h 2160299"/>
              <a:gd name="connsiteX1" fmla="*/ 1357951 w 1357951"/>
              <a:gd name="connsiteY1" fmla="*/ 0 h 2160299"/>
              <a:gd name="connsiteX2" fmla="*/ 1230951 w 1357951"/>
              <a:gd name="connsiteY2" fmla="*/ 2160299 h 2160299"/>
              <a:gd name="connsiteX3" fmla="*/ 0 w 1357951"/>
              <a:gd name="connsiteY3" fmla="*/ 1648020 h 2160299"/>
              <a:gd name="connsiteX0" fmla="*/ 0 w 1230951"/>
              <a:gd name="connsiteY0" fmla="*/ 0 h 1369079"/>
              <a:gd name="connsiteX1" fmla="*/ 1230951 w 1230951"/>
              <a:gd name="connsiteY1" fmla="*/ 1153049 h 1369079"/>
              <a:gd name="connsiteX2" fmla="*/ 1230951 w 1230951"/>
              <a:gd name="connsiteY2" fmla="*/ 1369079 h 1369079"/>
              <a:gd name="connsiteX3" fmla="*/ 0 w 1230951"/>
              <a:gd name="connsiteY3" fmla="*/ 856800 h 1369079"/>
              <a:gd name="connsiteX0" fmla="*/ 0 w 1312071"/>
              <a:gd name="connsiteY0" fmla="*/ 0 h 1369079"/>
              <a:gd name="connsiteX1" fmla="*/ 1312071 w 1312071"/>
              <a:gd name="connsiteY1" fmla="*/ 1127649 h 1369079"/>
              <a:gd name="connsiteX2" fmla="*/ 1230951 w 1312071"/>
              <a:gd name="connsiteY2" fmla="*/ 1369079 h 1369079"/>
              <a:gd name="connsiteX3" fmla="*/ 0 w 1312071"/>
              <a:gd name="connsiteY3" fmla="*/ 856800 h 136907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800 h 139701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799 h 1397019"/>
              <a:gd name="connsiteX0" fmla="*/ 0 w 1312071"/>
              <a:gd name="connsiteY0" fmla="*/ 0 h 1397019"/>
              <a:gd name="connsiteX1" fmla="*/ 1312071 w 1312071"/>
              <a:gd name="connsiteY1" fmla="*/ 1127649 h 1397019"/>
              <a:gd name="connsiteX2" fmla="*/ 1169991 w 1312071"/>
              <a:gd name="connsiteY2" fmla="*/ 1397019 h 1397019"/>
              <a:gd name="connsiteX3" fmla="*/ 9051 w 1312071"/>
              <a:gd name="connsiteY3" fmla="*/ 782209 h 1397019"/>
              <a:gd name="connsiteX0" fmla="*/ 68416 w 1380487"/>
              <a:gd name="connsiteY0" fmla="*/ 0 h 1524738"/>
              <a:gd name="connsiteX1" fmla="*/ 1380487 w 1380487"/>
              <a:gd name="connsiteY1" fmla="*/ 1127649 h 1524738"/>
              <a:gd name="connsiteX2" fmla="*/ 1238407 w 1380487"/>
              <a:gd name="connsiteY2" fmla="*/ 1397019 h 1524738"/>
              <a:gd name="connsiteX3" fmla="*/ 0 w 1380487"/>
              <a:gd name="connsiteY3" fmla="*/ 1524738 h 1524738"/>
              <a:gd name="connsiteX0" fmla="*/ 0 w 1380651"/>
              <a:gd name="connsiteY0" fmla="*/ 0 h 770358"/>
              <a:gd name="connsiteX1" fmla="*/ 1380651 w 1380651"/>
              <a:gd name="connsiteY1" fmla="*/ 373269 h 770358"/>
              <a:gd name="connsiteX2" fmla="*/ 1238571 w 1380651"/>
              <a:gd name="connsiteY2" fmla="*/ 642639 h 770358"/>
              <a:gd name="connsiteX3" fmla="*/ 164 w 1380651"/>
              <a:gd name="connsiteY3" fmla="*/ 770358 h 770358"/>
              <a:gd name="connsiteX0" fmla="*/ 0 w 1380651"/>
              <a:gd name="connsiteY0" fmla="*/ 0 h 770358"/>
              <a:gd name="connsiteX1" fmla="*/ 1380651 w 1380651"/>
              <a:gd name="connsiteY1" fmla="*/ 373269 h 770358"/>
              <a:gd name="connsiteX2" fmla="*/ 1330011 w 1380651"/>
              <a:gd name="connsiteY2" fmla="*/ 581679 h 770358"/>
              <a:gd name="connsiteX3" fmla="*/ 164 w 1380651"/>
              <a:gd name="connsiteY3" fmla="*/ 770358 h 770358"/>
              <a:gd name="connsiteX0" fmla="*/ 0 w 1330011"/>
              <a:gd name="connsiteY0" fmla="*/ 0 h 770358"/>
              <a:gd name="connsiteX1" fmla="*/ 1312071 w 1330011"/>
              <a:gd name="connsiteY1" fmla="*/ 396129 h 770358"/>
              <a:gd name="connsiteX2" fmla="*/ 1330011 w 1330011"/>
              <a:gd name="connsiteY2" fmla="*/ 581679 h 770358"/>
              <a:gd name="connsiteX3" fmla="*/ 164 w 1330011"/>
              <a:gd name="connsiteY3" fmla="*/ 770358 h 770358"/>
              <a:gd name="connsiteX0" fmla="*/ 0 w 1330011"/>
              <a:gd name="connsiteY0" fmla="*/ 337166 h 1107524"/>
              <a:gd name="connsiteX1" fmla="*/ 1198917 w 1330011"/>
              <a:gd name="connsiteY1" fmla="*/ 0 h 1107524"/>
              <a:gd name="connsiteX2" fmla="*/ 1330011 w 1330011"/>
              <a:gd name="connsiteY2" fmla="*/ 918845 h 1107524"/>
              <a:gd name="connsiteX3" fmla="*/ 164 w 1330011"/>
              <a:gd name="connsiteY3" fmla="*/ 1107524 h 1107524"/>
              <a:gd name="connsiteX0" fmla="*/ 0 w 1369617"/>
              <a:gd name="connsiteY0" fmla="*/ 337166 h 1107524"/>
              <a:gd name="connsiteX1" fmla="*/ 1198917 w 1369617"/>
              <a:gd name="connsiteY1" fmla="*/ 0 h 1107524"/>
              <a:gd name="connsiteX2" fmla="*/ 1369617 w 1369617"/>
              <a:gd name="connsiteY2" fmla="*/ 167957 h 1107524"/>
              <a:gd name="connsiteX3" fmla="*/ 164 w 1369617"/>
              <a:gd name="connsiteY3" fmla="*/ 1107524 h 1107524"/>
              <a:gd name="connsiteX0" fmla="*/ 1149 w 1370766"/>
              <a:gd name="connsiteY0" fmla="*/ 337166 h 946570"/>
              <a:gd name="connsiteX1" fmla="*/ 1200066 w 1370766"/>
              <a:gd name="connsiteY1" fmla="*/ 0 h 946570"/>
              <a:gd name="connsiteX2" fmla="*/ 1370766 w 1370766"/>
              <a:gd name="connsiteY2" fmla="*/ 167957 h 946570"/>
              <a:gd name="connsiteX3" fmla="*/ 0 w 1370766"/>
              <a:gd name="connsiteY3" fmla="*/ 946570 h 946570"/>
              <a:gd name="connsiteX0" fmla="*/ 1149 w 1200066"/>
              <a:gd name="connsiteY0" fmla="*/ 337166 h 946570"/>
              <a:gd name="connsiteX1" fmla="*/ 1200066 w 1200066"/>
              <a:gd name="connsiteY1" fmla="*/ 0 h 946570"/>
              <a:gd name="connsiteX2" fmla="*/ 1140776 w 1200066"/>
              <a:gd name="connsiteY2" fmla="*/ 192464 h 946570"/>
              <a:gd name="connsiteX3" fmla="*/ 0 w 1200066"/>
              <a:gd name="connsiteY3" fmla="*/ 946570 h 946570"/>
              <a:gd name="connsiteX0" fmla="*/ 1149 w 1140776"/>
              <a:gd name="connsiteY0" fmla="*/ 251035 h 860439"/>
              <a:gd name="connsiteX1" fmla="*/ 1019861 w 1140776"/>
              <a:gd name="connsiteY1" fmla="*/ 0 h 860439"/>
              <a:gd name="connsiteX2" fmla="*/ 1140776 w 1140776"/>
              <a:gd name="connsiteY2" fmla="*/ 106333 h 860439"/>
              <a:gd name="connsiteX3" fmla="*/ 0 w 1140776"/>
              <a:gd name="connsiteY3" fmla="*/ 860439 h 860439"/>
              <a:gd name="connsiteX0" fmla="*/ 0 w 1139627"/>
              <a:gd name="connsiteY0" fmla="*/ 251035 h 809047"/>
              <a:gd name="connsiteX1" fmla="*/ 1018712 w 1139627"/>
              <a:gd name="connsiteY1" fmla="*/ 0 h 809047"/>
              <a:gd name="connsiteX2" fmla="*/ 1139627 w 1139627"/>
              <a:gd name="connsiteY2" fmla="*/ 106333 h 809047"/>
              <a:gd name="connsiteX3" fmla="*/ 135282 w 1139627"/>
              <a:gd name="connsiteY3" fmla="*/ 809047 h 809047"/>
            </a:gdLst>
            <a:ahLst/>
            <a:cxnLst>
              <a:cxn ang="0">
                <a:pos x="connsiteX0" y="connsiteY0"/>
              </a:cxn>
              <a:cxn ang="0">
                <a:pos x="connsiteX1" y="connsiteY1"/>
              </a:cxn>
              <a:cxn ang="0">
                <a:pos x="connsiteX2" y="connsiteY2"/>
              </a:cxn>
              <a:cxn ang="0">
                <a:pos x="connsiteX3" y="connsiteY3"/>
              </a:cxn>
            </a:cxnLst>
            <a:rect l="l" t="t" r="r" b="b"/>
            <a:pathLst>
              <a:path w="1139627" h="809047">
                <a:moveTo>
                  <a:pt x="0" y="251035"/>
                </a:moveTo>
                <a:lnTo>
                  <a:pt x="1018712" y="0"/>
                </a:lnTo>
                <a:lnTo>
                  <a:pt x="1139627" y="106333"/>
                </a:lnTo>
                <a:lnTo>
                  <a:pt x="135282" y="809047"/>
                </a:lnTo>
              </a:path>
            </a:pathLst>
          </a:custGeom>
          <a:gradFill flip="none" rotWithShape="1">
            <a:gsLst>
              <a:gs pos="0">
                <a:srgbClr val="FFC000">
                  <a:alpha val="64000"/>
                </a:srgbClr>
              </a:gs>
              <a:gs pos="80000">
                <a:sysClr val="window" lastClr="FFFFFF">
                  <a:lumMod val="95000"/>
                </a:sysClr>
              </a:gs>
            </a:gsLst>
            <a:lin ang="10800000" scaled="1"/>
            <a:tileRect/>
          </a:gradFill>
          <a:ln w="9525" cap="flat" cmpd="sng" algn="ctr">
            <a:solidFill>
              <a:srgbClr val="85888B"/>
            </a:solidFill>
            <a:prstDash val="dash"/>
          </a:ln>
          <a:effectLst/>
        </p:spPr>
        <p:txBody>
          <a:bodyPr rtlCol="0" anchor="ctr"/>
          <a:lstStyle/>
          <a:p>
            <a:pPr algn="ctr">
              <a:defRPr/>
            </a:pPr>
            <a:endParaRPr lang="en-GB" kern="0">
              <a:solidFill>
                <a:srgbClr val="000000"/>
              </a:solidFill>
            </a:endParaRPr>
          </a:p>
        </p:txBody>
      </p:sp>
      <p:sp>
        <p:nvSpPr>
          <p:cNvPr id="125" name="ZoomShape">
            <a:extLst>
              <a:ext uri="{FF2B5EF4-FFF2-40B4-BE49-F238E27FC236}">
                <a16:creationId xmlns:a16="http://schemas.microsoft.com/office/drawing/2014/main" id="{D61F6B71-7077-4442-91B8-43204EC22597}"/>
              </a:ext>
            </a:extLst>
          </p:cNvPr>
          <p:cNvSpPr/>
          <p:nvPr>
            <p:custDataLst>
              <p:tags r:id="rId5"/>
            </p:custDataLst>
          </p:nvPr>
        </p:nvSpPr>
        <p:spPr>
          <a:xfrm rot="722489" flipH="1">
            <a:off x="7441447" y="3908653"/>
            <a:ext cx="1080885" cy="586307"/>
          </a:xfrm>
          <a:custGeom>
            <a:avLst/>
            <a:gdLst>
              <a:gd name="connsiteX0" fmla="*/ 2469989 w 2469989"/>
              <a:gd name="connsiteY0" fmla="*/ 2275950 h 2275950"/>
              <a:gd name="connsiteX1" fmla="*/ 0 w 2469989"/>
              <a:gd name="connsiteY1" fmla="*/ 0 h 2275950"/>
              <a:gd name="connsiteX2" fmla="*/ 0 w 2469989"/>
              <a:gd name="connsiteY2" fmla="*/ 0 h 2275950"/>
              <a:gd name="connsiteX3" fmla="*/ 0 w 2469989"/>
              <a:gd name="connsiteY3" fmla="*/ 0 h 2275950"/>
              <a:gd name="connsiteX0" fmla="*/ 2469989 w 3827940"/>
              <a:gd name="connsiteY0" fmla="*/ 2275950 h 2275950"/>
              <a:gd name="connsiteX1" fmla="*/ 3827940 w 3827940"/>
              <a:gd name="connsiteY1" fmla="*/ 1484730 h 2275950"/>
              <a:gd name="connsiteX2" fmla="*/ 0 w 3827940"/>
              <a:gd name="connsiteY2" fmla="*/ 0 h 2275950"/>
              <a:gd name="connsiteX3" fmla="*/ 0 w 3827940"/>
              <a:gd name="connsiteY3" fmla="*/ 0 h 2275950"/>
              <a:gd name="connsiteX0" fmla="*/ 2469989 w 3827940"/>
              <a:gd name="connsiteY0" fmla="*/ 2275950 h 2341529"/>
              <a:gd name="connsiteX1" fmla="*/ 3827940 w 3827940"/>
              <a:gd name="connsiteY1" fmla="*/ 1484730 h 2341529"/>
              <a:gd name="connsiteX2" fmla="*/ 3827939 w 3827940"/>
              <a:gd name="connsiteY2" fmla="*/ 2341529 h 2341529"/>
              <a:gd name="connsiteX3" fmla="*/ 0 w 3827940"/>
              <a:gd name="connsiteY3" fmla="*/ 0 h 2341529"/>
              <a:gd name="connsiteX0" fmla="*/ 0 w 1357951"/>
              <a:gd name="connsiteY0" fmla="*/ 791220 h 1648020"/>
              <a:gd name="connsiteX1" fmla="*/ 1357951 w 1357951"/>
              <a:gd name="connsiteY1" fmla="*/ 0 h 1648020"/>
              <a:gd name="connsiteX2" fmla="*/ 1357950 w 1357951"/>
              <a:gd name="connsiteY2" fmla="*/ 856799 h 1648020"/>
              <a:gd name="connsiteX3" fmla="*/ 0 w 1357951"/>
              <a:gd name="connsiteY3" fmla="*/ 1648020 h 1648020"/>
              <a:gd name="connsiteX0" fmla="*/ 0 w 1357951"/>
              <a:gd name="connsiteY0" fmla="*/ 791220 h 2160299"/>
              <a:gd name="connsiteX1" fmla="*/ 1357951 w 1357951"/>
              <a:gd name="connsiteY1" fmla="*/ 0 h 2160299"/>
              <a:gd name="connsiteX2" fmla="*/ 1230951 w 1357951"/>
              <a:gd name="connsiteY2" fmla="*/ 2160299 h 2160299"/>
              <a:gd name="connsiteX3" fmla="*/ 0 w 1357951"/>
              <a:gd name="connsiteY3" fmla="*/ 1648020 h 2160299"/>
              <a:gd name="connsiteX0" fmla="*/ 0 w 1230951"/>
              <a:gd name="connsiteY0" fmla="*/ 0 h 1369079"/>
              <a:gd name="connsiteX1" fmla="*/ 1230951 w 1230951"/>
              <a:gd name="connsiteY1" fmla="*/ 1153049 h 1369079"/>
              <a:gd name="connsiteX2" fmla="*/ 1230951 w 1230951"/>
              <a:gd name="connsiteY2" fmla="*/ 1369079 h 1369079"/>
              <a:gd name="connsiteX3" fmla="*/ 0 w 1230951"/>
              <a:gd name="connsiteY3" fmla="*/ 856800 h 1369079"/>
              <a:gd name="connsiteX0" fmla="*/ 0 w 1312071"/>
              <a:gd name="connsiteY0" fmla="*/ 0 h 1369079"/>
              <a:gd name="connsiteX1" fmla="*/ 1312071 w 1312071"/>
              <a:gd name="connsiteY1" fmla="*/ 1127649 h 1369079"/>
              <a:gd name="connsiteX2" fmla="*/ 1230951 w 1312071"/>
              <a:gd name="connsiteY2" fmla="*/ 1369079 h 1369079"/>
              <a:gd name="connsiteX3" fmla="*/ 0 w 1312071"/>
              <a:gd name="connsiteY3" fmla="*/ 856800 h 136907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800 h 139701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799 h 1397019"/>
              <a:gd name="connsiteX0" fmla="*/ 0 w 1312071"/>
              <a:gd name="connsiteY0" fmla="*/ 0 h 1397019"/>
              <a:gd name="connsiteX1" fmla="*/ 1312071 w 1312071"/>
              <a:gd name="connsiteY1" fmla="*/ 1127649 h 1397019"/>
              <a:gd name="connsiteX2" fmla="*/ 1169991 w 1312071"/>
              <a:gd name="connsiteY2" fmla="*/ 1397019 h 1397019"/>
              <a:gd name="connsiteX3" fmla="*/ 9051 w 1312071"/>
              <a:gd name="connsiteY3" fmla="*/ 782209 h 1397019"/>
              <a:gd name="connsiteX0" fmla="*/ 68416 w 1380487"/>
              <a:gd name="connsiteY0" fmla="*/ 0 h 1524738"/>
              <a:gd name="connsiteX1" fmla="*/ 1380487 w 1380487"/>
              <a:gd name="connsiteY1" fmla="*/ 1127649 h 1524738"/>
              <a:gd name="connsiteX2" fmla="*/ 1238407 w 1380487"/>
              <a:gd name="connsiteY2" fmla="*/ 1397019 h 1524738"/>
              <a:gd name="connsiteX3" fmla="*/ 0 w 1380487"/>
              <a:gd name="connsiteY3" fmla="*/ 1524738 h 1524738"/>
              <a:gd name="connsiteX0" fmla="*/ 0 w 1380651"/>
              <a:gd name="connsiteY0" fmla="*/ 0 h 770358"/>
              <a:gd name="connsiteX1" fmla="*/ 1380651 w 1380651"/>
              <a:gd name="connsiteY1" fmla="*/ 373269 h 770358"/>
              <a:gd name="connsiteX2" fmla="*/ 1238571 w 1380651"/>
              <a:gd name="connsiteY2" fmla="*/ 642639 h 770358"/>
              <a:gd name="connsiteX3" fmla="*/ 164 w 1380651"/>
              <a:gd name="connsiteY3" fmla="*/ 770358 h 770358"/>
              <a:gd name="connsiteX0" fmla="*/ 0 w 1380651"/>
              <a:gd name="connsiteY0" fmla="*/ 0 h 770358"/>
              <a:gd name="connsiteX1" fmla="*/ 1380651 w 1380651"/>
              <a:gd name="connsiteY1" fmla="*/ 373269 h 770358"/>
              <a:gd name="connsiteX2" fmla="*/ 1330011 w 1380651"/>
              <a:gd name="connsiteY2" fmla="*/ 581679 h 770358"/>
              <a:gd name="connsiteX3" fmla="*/ 164 w 1380651"/>
              <a:gd name="connsiteY3" fmla="*/ 770358 h 770358"/>
              <a:gd name="connsiteX0" fmla="*/ 0 w 1330011"/>
              <a:gd name="connsiteY0" fmla="*/ 0 h 770358"/>
              <a:gd name="connsiteX1" fmla="*/ 1312071 w 1330011"/>
              <a:gd name="connsiteY1" fmla="*/ 396129 h 770358"/>
              <a:gd name="connsiteX2" fmla="*/ 1330011 w 1330011"/>
              <a:gd name="connsiteY2" fmla="*/ 581679 h 770358"/>
              <a:gd name="connsiteX3" fmla="*/ 164 w 1330011"/>
              <a:gd name="connsiteY3" fmla="*/ 770358 h 770358"/>
              <a:gd name="connsiteX0" fmla="*/ 0 w 1312071"/>
              <a:gd name="connsiteY0" fmla="*/ 0 h 770358"/>
              <a:gd name="connsiteX1" fmla="*/ 1312071 w 1312071"/>
              <a:gd name="connsiteY1" fmla="*/ 396129 h 770358"/>
              <a:gd name="connsiteX2" fmla="*/ 1288101 w 1312071"/>
              <a:gd name="connsiteY2" fmla="*/ 650259 h 770358"/>
              <a:gd name="connsiteX3" fmla="*/ 164 w 1312071"/>
              <a:gd name="connsiteY3" fmla="*/ 770358 h 770358"/>
              <a:gd name="connsiteX0" fmla="*/ 0 w 1288101"/>
              <a:gd name="connsiteY0" fmla="*/ 0 h 770358"/>
              <a:gd name="connsiteX1" fmla="*/ 1281591 w 1288101"/>
              <a:gd name="connsiteY1" fmla="*/ 434229 h 770358"/>
              <a:gd name="connsiteX2" fmla="*/ 1288101 w 1288101"/>
              <a:gd name="connsiteY2" fmla="*/ 650259 h 770358"/>
              <a:gd name="connsiteX3" fmla="*/ 164 w 1288101"/>
              <a:gd name="connsiteY3" fmla="*/ 770358 h 770358"/>
              <a:gd name="connsiteX0" fmla="*/ 32 w 1288133"/>
              <a:gd name="connsiteY0" fmla="*/ 0 h 650259"/>
              <a:gd name="connsiteX1" fmla="*/ 1281623 w 1288133"/>
              <a:gd name="connsiteY1" fmla="*/ 434229 h 650259"/>
              <a:gd name="connsiteX2" fmla="*/ 1288133 w 1288133"/>
              <a:gd name="connsiteY2" fmla="*/ 650259 h 650259"/>
              <a:gd name="connsiteX3" fmla="*/ 0 w 1288133"/>
              <a:gd name="connsiteY3" fmla="*/ 541122 h 650259"/>
              <a:gd name="connsiteX0" fmla="*/ 32 w 1288133"/>
              <a:gd name="connsiteY0" fmla="*/ 0 h 650259"/>
              <a:gd name="connsiteX1" fmla="*/ 1055527 w 1288133"/>
              <a:gd name="connsiteY1" fmla="*/ 360007 h 650259"/>
              <a:gd name="connsiteX2" fmla="*/ 1288133 w 1288133"/>
              <a:gd name="connsiteY2" fmla="*/ 650259 h 650259"/>
              <a:gd name="connsiteX3" fmla="*/ 0 w 1288133"/>
              <a:gd name="connsiteY3" fmla="*/ 541122 h 650259"/>
              <a:gd name="connsiteX0" fmla="*/ 32 w 1080885"/>
              <a:gd name="connsiteY0" fmla="*/ 0 h 586307"/>
              <a:gd name="connsiteX1" fmla="*/ 1055527 w 1080885"/>
              <a:gd name="connsiteY1" fmla="*/ 360007 h 586307"/>
              <a:gd name="connsiteX2" fmla="*/ 1080885 w 1080885"/>
              <a:gd name="connsiteY2" fmla="*/ 586307 h 586307"/>
              <a:gd name="connsiteX3" fmla="*/ 0 w 1080885"/>
              <a:gd name="connsiteY3" fmla="*/ 541122 h 586307"/>
            </a:gdLst>
            <a:ahLst/>
            <a:cxnLst>
              <a:cxn ang="0">
                <a:pos x="connsiteX0" y="connsiteY0"/>
              </a:cxn>
              <a:cxn ang="0">
                <a:pos x="connsiteX1" y="connsiteY1"/>
              </a:cxn>
              <a:cxn ang="0">
                <a:pos x="connsiteX2" y="connsiteY2"/>
              </a:cxn>
              <a:cxn ang="0">
                <a:pos x="connsiteX3" y="connsiteY3"/>
              </a:cxn>
            </a:cxnLst>
            <a:rect l="l" t="t" r="r" b="b"/>
            <a:pathLst>
              <a:path w="1080885" h="586307">
                <a:moveTo>
                  <a:pt x="32" y="0"/>
                </a:moveTo>
                <a:lnTo>
                  <a:pt x="1055527" y="360007"/>
                </a:lnTo>
                <a:lnTo>
                  <a:pt x="1080885" y="586307"/>
                </a:lnTo>
                <a:lnTo>
                  <a:pt x="0" y="541122"/>
                </a:lnTo>
              </a:path>
            </a:pathLst>
          </a:custGeom>
          <a:gradFill flip="none" rotWithShape="1">
            <a:gsLst>
              <a:gs pos="0">
                <a:schemeClr val="bg2">
                  <a:lumMod val="75000"/>
                  <a:alpha val="60000"/>
                </a:schemeClr>
              </a:gs>
              <a:gs pos="80000">
                <a:sysClr val="window" lastClr="FFFFFF">
                  <a:lumMod val="95000"/>
                </a:sysClr>
              </a:gs>
            </a:gsLst>
            <a:lin ang="10800000" scaled="1"/>
            <a:tileRect/>
          </a:gradFill>
          <a:ln w="9525" cap="flat" cmpd="sng" algn="ctr">
            <a:solidFill>
              <a:srgbClr val="85888B"/>
            </a:solidFill>
            <a:prstDash val="dash"/>
          </a:ln>
          <a:effectLst/>
        </p:spPr>
        <p:txBody>
          <a:bodyPr rtlCol="0" anchor="ctr"/>
          <a:lstStyle/>
          <a:p>
            <a:pPr algn="ctr">
              <a:defRPr/>
            </a:pPr>
            <a:endParaRPr lang="en-GB" kern="0">
              <a:solidFill>
                <a:srgbClr val="000000"/>
              </a:solidFill>
            </a:endParaRPr>
          </a:p>
        </p:txBody>
      </p:sp>
      <p:sp>
        <p:nvSpPr>
          <p:cNvPr id="126" name="ZoomShape">
            <a:extLst>
              <a:ext uri="{FF2B5EF4-FFF2-40B4-BE49-F238E27FC236}">
                <a16:creationId xmlns:a16="http://schemas.microsoft.com/office/drawing/2014/main" id="{CC33D34E-4B98-4AD5-8BA0-9CDB034D963B}"/>
              </a:ext>
            </a:extLst>
          </p:cNvPr>
          <p:cNvSpPr/>
          <p:nvPr>
            <p:custDataLst>
              <p:tags r:id="rId6"/>
            </p:custDataLst>
          </p:nvPr>
        </p:nvSpPr>
        <p:spPr>
          <a:xfrm rot="927661" flipH="1">
            <a:off x="7203658" y="2226862"/>
            <a:ext cx="1190607" cy="1147463"/>
          </a:xfrm>
          <a:custGeom>
            <a:avLst/>
            <a:gdLst>
              <a:gd name="connsiteX0" fmla="*/ 2469989 w 2469989"/>
              <a:gd name="connsiteY0" fmla="*/ 2275950 h 2275950"/>
              <a:gd name="connsiteX1" fmla="*/ 0 w 2469989"/>
              <a:gd name="connsiteY1" fmla="*/ 0 h 2275950"/>
              <a:gd name="connsiteX2" fmla="*/ 0 w 2469989"/>
              <a:gd name="connsiteY2" fmla="*/ 0 h 2275950"/>
              <a:gd name="connsiteX3" fmla="*/ 0 w 2469989"/>
              <a:gd name="connsiteY3" fmla="*/ 0 h 2275950"/>
              <a:gd name="connsiteX0" fmla="*/ 2469989 w 3827940"/>
              <a:gd name="connsiteY0" fmla="*/ 2275950 h 2275950"/>
              <a:gd name="connsiteX1" fmla="*/ 3827940 w 3827940"/>
              <a:gd name="connsiteY1" fmla="*/ 1484730 h 2275950"/>
              <a:gd name="connsiteX2" fmla="*/ 0 w 3827940"/>
              <a:gd name="connsiteY2" fmla="*/ 0 h 2275950"/>
              <a:gd name="connsiteX3" fmla="*/ 0 w 3827940"/>
              <a:gd name="connsiteY3" fmla="*/ 0 h 2275950"/>
              <a:gd name="connsiteX0" fmla="*/ 2469989 w 3827940"/>
              <a:gd name="connsiteY0" fmla="*/ 2275950 h 2341529"/>
              <a:gd name="connsiteX1" fmla="*/ 3827940 w 3827940"/>
              <a:gd name="connsiteY1" fmla="*/ 1484730 h 2341529"/>
              <a:gd name="connsiteX2" fmla="*/ 3827939 w 3827940"/>
              <a:gd name="connsiteY2" fmla="*/ 2341529 h 2341529"/>
              <a:gd name="connsiteX3" fmla="*/ 0 w 3827940"/>
              <a:gd name="connsiteY3" fmla="*/ 0 h 2341529"/>
              <a:gd name="connsiteX0" fmla="*/ 0 w 1357951"/>
              <a:gd name="connsiteY0" fmla="*/ 791220 h 1648020"/>
              <a:gd name="connsiteX1" fmla="*/ 1357951 w 1357951"/>
              <a:gd name="connsiteY1" fmla="*/ 0 h 1648020"/>
              <a:gd name="connsiteX2" fmla="*/ 1357950 w 1357951"/>
              <a:gd name="connsiteY2" fmla="*/ 856799 h 1648020"/>
              <a:gd name="connsiteX3" fmla="*/ 0 w 1357951"/>
              <a:gd name="connsiteY3" fmla="*/ 1648020 h 1648020"/>
              <a:gd name="connsiteX0" fmla="*/ 0 w 1357951"/>
              <a:gd name="connsiteY0" fmla="*/ 791220 h 2160299"/>
              <a:gd name="connsiteX1" fmla="*/ 1357951 w 1357951"/>
              <a:gd name="connsiteY1" fmla="*/ 0 h 2160299"/>
              <a:gd name="connsiteX2" fmla="*/ 1230951 w 1357951"/>
              <a:gd name="connsiteY2" fmla="*/ 2160299 h 2160299"/>
              <a:gd name="connsiteX3" fmla="*/ 0 w 1357951"/>
              <a:gd name="connsiteY3" fmla="*/ 1648020 h 2160299"/>
              <a:gd name="connsiteX0" fmla="*/ 0 w 1230951"/>
              <a:gd name="connsiteY0" fmla="*/ 0 h 1369079"/>
              <a:gd name="connsiteX1" fmla="*/ 1230951 w 1230951"/>
              <a:gd name="connsiteY1" fmla="*/ 1153049 h 1369079"/>
              <a:gd name="connsiteX2" fmla="*/ 1230951 w 1230951"/>
              <a:gd name="connsiteY2" fmla="*/ 1369079 h 1369079"/>
              <a:gd name="connsiteX3" fmla="*/ 0 w 1230951"/>
              <a:gd name="connsiteY3" fmla="*/ 856800 h 1369079"/>
              <a:gd name="connsiteX0" fmla="*/ 0 w 1312071"/>
              <a:gd name="connsiteY0" fmla="*/ 0 h 1369079"/>
              <a:gd name="connsiteX1" fmla="*/ 1312071 w 1312071"/>
              <a:gd name="connsiteY1" fmla="*/ 1127649 h 1369079"/>
              <a:gd name="connsiteX2" fmla="*/ 1230951 w 1312071"/>
              <a:gd name="connsiteY2" fmla="*/ 1369079 h 1369079"/>
              <a:gd name="connsiteX3" fmla="*/ 0 w 1312071"/>
              <a:gd name="connsiteY3" fmla="*/ 856800 h 136907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800 h 139701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799 h 1397019"/>
              <a:gd name="connsiteX0" fmla="*/ 0 w 1312071"/>
              <a:gd name="connsiteY0" fmla="*/ 0 h 1397019"/>
              <a:gd name="connsiteX1" fmla="*/ 1312071 w 1312071"/>
              <a:gd name="connsiteY1" fmla="*/ 1127649 h 1397019"/>
              <a:gd name="connsiteX2" fmla="*/ 1169991 w 1312071"/>
              <a:gd name="connsiteY2" fmla="*/ 1397019 h 1397019"/>
              <a:gd name="connsiteX3" fmla="*/ 9051 w 1312071"/>
              <a:gd name="connsiteY3" fmla="*/ 782209 h 1397019"/>
              <a:gd name="connsiteX0" fmla="*/ 0 w 1256191"/>
              <a:gd name="connsiteY0" fmla="*/ 0 h 1397019"/>
              <a:gd name="connsiteX1" fmla="*/ 1256191 w 1256191"/>
              <a:gd name="connsiteY1" fmla="*/ 1137809 h 1397019"/>
              <a:gd name="connsiteX2" fmla="*/ 1169991 w 1256191"/>
              <a:gd name="connsiteY2" fmla="*/ 1397019 h 1397019"/>
              <a:gd name="connsiteX3" fmla="*/ 9051 w 1256191"/>
              <a:gd name="connsiteY3" fmla="*/ 782209 h 1397019"/>
              <a:gd name="connsiteX0" fmla="*/ 0 w 1256191"/>
              <a:gd name="connsiteY0" fmla="*/ 0 h 1330979"/>
              <a:gd name="connsiteX1" fmla="*/ 1256191 w 1256191"/>
              <a:gd name="connsiteY1" fmla="*/ 1137809 h 1330979"/>
              <a:gd name="connsiteX2" fmla="*/ 1144591 w 1256191"/>
              <a:gd name="connsiteY2" fmla="*/ 1330979 h 1330979"/>
              <a:gd name="connsiteX3" fmla="*/ 9051 w 1256191"/>
              <a:gd name="connsiteY3" fmla="*/ 782209 h 1330979"/>
              <a:gd name="connsiteX0" fmla="*/ 0 w 1256191"/>
              <a:gd name="connsiteY0" fmla="*/ 0 h 1330979"/>
              <a:gd name="connsiteX1" fmla="*/ 80678 w 1256191"/>
              <a:gd name="connsiteY1" fmla="*/ 7788 h 1330979"/>
              <a:gd name="connsiteX2" fmla="*/ 1256191 w 1256191"/>
              <a:gd name="connsiteY2" fmla="*/ 1137809 h 1330979"/>
              <a:gd name="connsiteX3" fmla="*/ 1144591 w 1256191"/>
              <a:gd name="connsiteY3" fmla="*/ 1330979 h 1330979"/>
              <a:gd name="connsiteX4" fmla="*/ 9051 w 1256191"/>
              <a:gd name="connsiteY4" fmla="*/ 782209 h 1330979"/>
              <a:gd name="connsiteX0" fmla="*/ 0 w 1256191"/>
              <a:gd name="connsiteY0" fmla="*/ 0 h 1330979"/>
              <a:gd name="connsiteX1" fmla="*/ 80678 w 1256191"/>
              <a:gd name="connsiteY1" fmla="*/ 7788 h 1330979"/>
              <a:gd name="connsiteX2" fmla="*/ 1256191 w 1256191"/>
              <a:gd name="connsiteY2" fmla="*/ 1137809 h 1330979"/>
              <a:gd name="connsiteX3" fmla="*/ 1144591 w 1256191"/>
              <a:gd name="connsiteY3" fmla="*/ 1330979 h 1330979"/>
              <a:gd name="connsiteX4" fmla="*/ 27339 w 1256191"/>
              <a:gd name="connsiteY4" fmla="*/ 550561 h 1330979"/>
              <a:gd name="connsiteX0" fmla="*/ 0 w 1256191"/>
              <a:gd name="connsiteY0" fmla="*/ 0 h 1147463"/>
              <a:gd name="connsiteX1" fmla="*/ 80678 w 1256191"/>
              <a:gd name="connsiteY1" fmla="*/ 7788 h 1147463"/>
              <a:gd name="connsiteX2" fmla="*/ 1256191 w 1256191"/>
              <a:gd name="connsiteY2" fmla="*/ 1137809 h 1147463"/>
              <a:gd name="connsiteX3" fmla="*/ 1082809 w 1256191"/>
              <a:gd name="connsiteY3" fmla="*/ 1147463 h 1147463"/>
              <a:gd name="connsiteX4" fmla="*/ 27339 w 1256191"/>
              <a:gd name="connsiteY4" fmla="*/ 550561 h 1147463"/>
              <a:gd name="connsiteX0" fmla="*/ 0 w 1190607"/>
              <a:gd name="connsiteY0" fmla="*/ 0 h 1147463"/>
              <a:gd name="connsiteX1" fmla="*/ 80678 w 1190607"/>
              <a:gd name="connsiteY1" fmla="*/ 7788 h 1147463"/>
              <a:gd name="connsiteX2" fmla="*/ 1190607 w 1190607"/>
              <a:gd name="connsiteY2" fmla="*/ 1027851 h 1147463"/>
              <a:gd name="connsiteX3" fmla="*/ 1082809 w 1190607"/>
              <a:gd name="connsiteY3" fmla="*/ 1147463 h 1147463"/>
              <a:gd name="connsiteX4" fmla="*/ 27339 w 1190607"/>
              <a:gd name="connsiteY4" fmla="*/ 550561 h 1147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607" h="1147463">
                <a:moveTo>
                  <a:pt x="0" y="0"/>
                </a:moveTo>
                <a:lnTo>
                  <a:pt x="80678" y="7788"/>
                </a:lnTo>
                <a:lnTo>
                  <a:pt x="1190607" y="1027851"/>
                </a:lnTo>
                <a:lnTo>
                  <a:pt x="1082809" y="1147463"/>
                </a:lnTo>
                <a:lnTo>
                  <a:pt x="27339" y="550561"/>
                </a:lnTo>
              </a:path>
            </a:pathLst>
          </a:custGeom>
          <a:gradFill flip="none" rotWithShape="1">
            <a:gsLst>
              <a:gs pos="35000">
                <a:schemeClr val="accent5">
                  <a:alpha val="60000"/>
                </a:schemeClr>
              </a:gs>
              <a:gs pos="80000">
                <a:sysClr val="window" lastClr="FFFFFF">
                  <a:lumMod val="95000"/>
                </a:sysClr>
              </a:gs>
            </a:gsLst>
            <a:lin ang="10800000" scaled="1"/>
            <a:tileRect/>
          </a:gradFill>
          <a:ln w="9525" cap="flat" cmpd="sng" algn="ctr">
            <a:solidFill>
              <a:srgbClr val="85888B"/>
            </a:solidFill>
            <a:prstDash val="dash"/>
          </a:ln>
          <a:effectLst/>
        </p:spPr>
        <p:txBody>
          <a:bodyPr rtlCol="0" anchor="ctr"/>
          <a:lstStyle/>
          <a:p>
            <a:pPr algn="ctr">
              <a:defRPr/>
            </a:pPr>
            <a:endParaRPr lang="en-GB" kern="0">
              <a:solidFill>
                <a:srgbClr val="000000"/>
              </a:solidFill>
            </a:endParaRPr>
          </a:p>
        </p:txBody>
      </p:sp>
      <p:sp>
        <p:nvSpPr>
          <p:cNvPr id="128" name="ZoomShape">
            <a:extLst>
              <a:ext uri="{FF2B5EF4-FFF2-40B4-BE49-F238E27FC236}">
                <a16:creationId xmlns:a16="http://schemas.microsoft.com/office/drawing/2014/main" id="{C6AA117A-3DFE-466D-9DBF-E0B27DF38A8F}"/>
              </a:ext>
            </a:extLst>
          </p:cNvPr>
          <p:cNvSpPr/>
          <p:nvPr>
            <p:custDataLst>
              <p:tags r:id="rId7"/>
            </p:custDataLst>
          </p:nvPr>
        </p:nvSpPr>
        <p:spPr>
          <a:xfrm rot="18038833" flipH="1">
            <a:off x="5586987" y="1711958"/>
            <a:ext cx="826425" cy="817053"/>
          </a:xfrm>
          <a:custGeom>
            <a:avLst/>
            <a:gdLst>
              <a:gd name="connsiteX0" fmla="*/ 2469989 w 2469989"/>
              <a:gd name="connsiteY0" fmla="*/ 2275950 h 2275950"/>
              <a:gd name="connsiteX1" fmla="*/ 0 w 2469989"/>
              <a:gd name="connsiteY1" fmla="*/ 0 h 2275950"/>
              <a:gd name="connsiteX2" fmla="*/ 0 w 2469989"/>
              <a:gd name="connsiteY2" fmla="*/ 0 h 2275950"/>
              <a:gd name="connsiteX3" fmla="*/ 0 w 2469989"/>
              <a:gd name="connsiteY3" fmla="*/ 0 h 2275950"/>
              <a:gd name="connsiteX0" fmla="*/ 2469989 w 3827940"/>
              <a:gd name="connsiteY0" fmla="*/ 2275950 h 2275950"/>
              <a:gd name="connsiteX1" fmla="*/ 3827940 w 3827940"/>
              <a:gd name="connsiteY1" fmla="*/ 1484730 h 2275950"/>
              <a:gd name="connsiteX2" fmla="*/ 0 w 3827940"/>
              <a:gd name="connsiteY2" fmla="*/ 0 h 2275950"/>
              <a:gd name="connsiteX3" fmla="*/ 0 w 3827940"/>
              <a:gd name="connsiteY3" fmla="*/ 0 h 2275950"/>
              <a:gd name="connsiteX0" fmla="*/ 2469989 w 3827940"/>
              <a:gd name="connsiteY0" fmla="*/ 2275950 h 2341529"/>
              <a:gd name="connsiteX1" fmla="*/ 3827940 w 3827940"/>
              <a:gd name="connsiteY1" fmla="*/ 1484730 h 2341529"/>
              <a:gd name="connsiteX2" fmla="*/ 3827939 w 3827940"/>
              <a:gd name="connsiteY2" fmla="*/ 2341529 h 2341529"/>
              <a:gd name="connsiteX3" fmla="*/ 0 w 3827940"/>
              <a:gd name="connsiteY3" fmla="*/ 0 h 2341529"/>
              <a:gd name="connsiteX0" fmla="*/ 0 w 1357951"/>
              <a:gd name="connsiteY0" fmla="*/ 791220 h 1648020"/>
              <a:gd name="connsiteX1" fmla="*/ 1357951 w 1357951"/>
              <a:gd name="connsiteY1" fmla="*/ 0 h 1648020"/>
              <a:gd name="connsiteX2" fmla="*/ 1357950 w 1357951"/>
              <a:gd name="connsiteY2" fmla="*/ 856799 h 1648020"/>
              <a:gd name="connsiteX3" fmla="*/ 0 w 1357951"/>
              <a:gd name="connsiteY3" fmla="*/ 1648020 h 1648020"/>
              <a:gd name="connsiteX0" fmla="*/ 0 w 1357951"/>
              <a:gd name="connsiteY0" fmla="*/ 791220 h 2160299"/>
              <a:gd name="connsiteX1" fmla="*/ 1357951 w 1357951"/>
              <a:gd name="connsiteY1" fmla="*/ 0 h 2160299"/>
              <a:gd name="connsiteX2" fmla="*/ 1230951 w 1357951"/>
              <a:gd name="connsiteY2" fmla="*/ 2160299 h 2160299"/>
              <a:gd name="connsiteX3" fmla="*/ 0 w 1357951"/>
              <a:gd name="connsiteY3" fmla="*/ 1648020 h 2160299"/>
              <a:gd name="connsiteX0" fmla="*/ 0 w 1230951"/>
              <a:gd name="connsiteY0" fmla="*/ 0 h 1369079"/>
              <a:gd name="connsiteX1" fmla="*/ 1230951 w 1230951"/>
              <a:gd name="connsiteY1" fmla="*/ 1153049 h 1369079"/>
              <a:gd name="connsiteX2" fmla="*/ 1230951 w 1230951"/>
              <a:gd name="connsiteY2" fmla="*/ 1369079 h 1369079"/>
              <a:gd name="connsiteX3" fmla="*/ 0 w 1230951"/>
              <a:gd name="connsiteY3" fmla="*/ 856800 h 1369079"/>
              <a:gd name="connsiteX0" fmla="*/ 0 w 1312071"/>
              <a:gd name="connsiteY0" fmla="*/ 0 h 1369079"/>
              <a:gd name="connsiteX1" fmla="*/ 1312071 w 1312071"/>
              <a:gd name="connsiteY1" fmla="*/ 1127649 h 1369079"/>
              <a:gd name="connsiteX2" fmla="*/ 1230951 w 1312071"/>
              <a:gd name="connsiteY2" fmla="*/ 1369079 h 1369079"/>
              <a:gd name="connsiteX3" fmla="*/ 0 w 1312071"/>
              <a:gd name="connsiteY3" fmla="*/ 856800 h 136907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800 h 1397019"/>
              <a:gd name="connsiteX0" fmla="*/ 0 w 1312071"/>
              <a:gd name="connsiteY0" fmla="*/ 0 h 1397019"/>
              <a:gd name="connsiteX1" fmla="*/ 1312071 w 1312071"/>
              <a:gd name="connsiteY1" fmla="*/ 1127649 h 1397019"/>
              <a:gd name="connsiteX2" fmla="*/ 1169991 w 1312071"/>
              <a:gd name="connsiteY2" fmla="*/ 1397019 h 1397019"/>
              <a:gd name="connsiteX3" fmla="*/ 0 w 1312071"/>
              <a:gd name="connsiteY3" fmla="*/ 856799 h 1397019"/>
              <a:gd name="connsiteX0" fmla="*/ 0 w 1312071"/>
              <a:gd name="connsiteY0" fmla="*/ 0 h 1397019"/>
              <a:gd name="connsiteX1" fmla="*/ 1312071 w 1312071"/>
              <a:gd name="connsiteY1" fmla="*/ 1127649 h 1397019"/>
              <a:gd name="connsiteX2" fmla="*/ 1169991 w 1312071"/>
              <a:gd name="connsiteY2" fmla="*/ 1397019 h 1397019"/>
              <a:gd name="connsiteX3" fmla="*/ 9051 w 1312071"/>
              <a:gd name="connsiteY3" fmla="*/ 782209 h 1397019"/>
              <a:gd name="connsiteX0" fmla="*/ 830465 w 1303020"/>
              <a:gd name="connsiteY0" fmla="*/ 0 h 919856"/>
              <a:gd name="connsiteX1" fmla="*/ 1303020 w 1303020"/>
              <a:gd name="connsiteY1" fmla="*/ 650486 h 919856"/>
              <a:gd name="connsiteX2" fmla="*/ 1160940 w 1303020"/>
              <a:gd name="connsiteY2" fmla="*/ 919856 h 919856"/>
              <a:gd name="connsiteX3" fmla="*/ 0 w 1303020"/>
              <a:gd name="connsiteY3" fmla="*/ 305046 h 919856"/>
              <a:gd name="connsiteX0" fmla="*/ 475888 w 948443"/>
              <a:gd name="connsiteY0" fmla="*/ 0 h 919856"/>
              <a:gd name="connsiteX1" fmla="*/ 948443 w 948443"/>
              <a:gd name="connsiteY1" fmla="*/ 650486 h 919856"/>
              <a:gd name="connsiteX2" fmla="*/ 806363 w 948443"/>
              <a:gd name="connsiteY2" fmla="*/ 919856 h 919856"/>
              <a:gd name="connsiteX3" fmla="*/ 0 w 948443"/>
              <a:gd name="connsiteY3" fmla="*/ 803171 h 919856"/>
              <a:gd name="connsiteX0" fmla="*/ 475888 w 891213"/>
              <a:gd name="connsiteY0" fmla="*/ 0 h 919856"/>
              <a:gd name="connsiteX1" fmla="*/ 891213 w 891213"/>
              <a:gd name="connsiteY1" fmla="*/ 635700 h 919856"/>
              <a:gd name="connsiteX2" fmla="*/ 806363 w 891213"/>
              <a:gd name="connsiteY2" fmla="*/ 919856 h 919856"/>
              <a:gd name="connsiteX3" fmla="*/ 0 w 891213"/>
              <a:gd name="connsiteY3" fmla="*/ 803171 h 919856"/>
              <a:gd name="connsiteX0" fmla="*/ 475888 w 891213"/>
              <a:gd name="connsiteY0" fmla="*/ 0 h 883506"/>
              <a:gd name="connsiteX1" fmla="*/ 891213 w 891213"/>
              <a:gd name="connsiteY1" fmla="*/ 635700 h 883506"/>
              <a:gd name="connsiteX2" fmla="*/ 744385 w 891213"/>
              <a:gd name="connsiteY2" fmla="*/ 883506 h 883506"/>
              <a:gd name="connsiteX3" fmla="*/ 0 w 891213"/>
              <a:gd name="connsiteY3" fmla="*/ 803171 h 883506"/>
              <a:gd name="connsiteX0" fmla="*/ 475888 w 854507"/>
              <a:gd name="connsiteY0" fmla="*/ 0 h 883506"/>
              <a:gd name="connsiteX1" fmla="*/ 854507 w 854507"/>
              <a:gd name="connsiteY1" fmla="*/ 697651 h 883506"/>
              <a:gd name="connsiteX2" fmla="*/ 744385 w 854507"/>
              <a:gd name="connsiteY2" fmla="*/ 883506 h 883506"/>
              <a:gd name="connsiteX3" fmla="*/ 0 w 854507"/>
              <a:gd name="connsiteY3" fmla="*/ 803171 h 883506"/>
              <a:gd name="connsiteX0" fmla="*/ 475888 w 854507"/>
              <a:gd name="connsiteY0" fmla="*/ 0 h 883506"/>
              <a:gd name="connsiteX1" fmla="*/ 854507 w 854507"/>
              <a:gd name="connsiteY1" fmla="*/ 697651 h 883506"/>
              <a:gd name="connsiteX2" fmla="*/ 744385 w 854507"/>
              <a:gd name="connsiteY2" fmla="*/ 883506 h 883506"/>
              <a:gd name="connsiteX3" fmla="*/ 0 w 854507"/>
              <a:gd name="connsiteY3" fmla="*/ 803171 h 883506"/>
              <a:gd name="connsiteX0" fmla="*/ 475888 w 792554"/>
              <a:gd name="connsiteY0" fmla="*/ 0 h 883506"/>
              <a:gd name="connsiteX1" fmla="*/ 792554 w 792554"/>
              <a:gd name="connsiteY1" fmla="*/ 660944 h 883506"/>
              <a:gd name="connsiteX2" fmla="*/ 744385 w 792554"/>
              <a:gd name="connsiteY2" fmla="*/ 883506 h 883506"/>
              <a:gd name="connsiteX3" fmla="*/ 0 w 792554"/>
              <a:gd name="connsiteY3" fmla="*/ 803171 h 883506"/>
              <a:gd name="connsiteX0" fmla="*/ 475888 w 792554"/>
              <a:gd name="connsiteY0" fmla="*/ 0 h 846799"/>
              <a:gd name="connsiteX1" fmla="*/ 792554 w 792554"/>
              <a:gd name="connsiteY1" fmla="*/ 660944 h 846799"/>
              <a:gd name="connsiteX2" fmla="*/ 682433 w 792554"/>
              <a:gd name="connsiteY2" fmla="*/ 846799 h 846799"/>
              <a:gd name="connsiteX3" fmla="*/ 0 w 792554"/>
              <a:gd name="connsiteY3" fmla="*/ 803171 h 846799"/>
              <a:gd name="connsiteX0" fmla="*/ 475888 w 826425"/>
              <a:gd name="connsiteY0" fmla="*/ 0 h 846799"/>
              <a:gd name="connsiteX1" fmla="*/ 826425 w 826425"/>
              <a:gd name="connsiteY1" fmla="*/ 683524 h 846799"/>
              <a:gd name="connsiteX2" fmla="*/ 682433 w 826425"/>
              <a:gd name="connsiteY2" fmla="*/ 846799 h 846799"/>
              <a:gd name="connsiteX3" fmla="*/ 0 w 826425"/>
              <a:gd name="connsiteY3" fmla="*/ 803171 h 846799"/>
              <a:gd name="connsiteX0" fmla="*/ 475888 w 826425"/>
              <a:gd name="connsiteY0" fmla="*/ 0 h 817053"/>
              <a:gd name="connsiteX1" fmla="*/ 826425 w 826425"/>
              <a:gd name="connsiteY1" fmla="*/ 683524 h 817053"/>
              <a:gd name="connsiteX2" fmla="*/ 744344 w 826425"/>
              <a:gd name="connsiteY2" fmla="*/ 817053 h 817053"/>
              <a:gd name="connsiteX3" fmla="*/ 0 w 826425"/>
              <a:gd name="connsiteY3" fmla="*/ 803171 h 817053"/>
            </a:gdLst>
            <a:ahLst/>
            <a:cxnLst>
              <a:cxn ang="0">
                <a:pos x="connsiteX0" y="connsiteY0"/>
              </a:cxn>
              <a:cxn ang="0">
                <a:pos x="connsiteX1" y="connsiteY1"/>
              </a:cxn>
              <a:cxn ang="0">
                <a:pos x="connsiteX2" y="connsiteY2"/>
              </a:cxn>
              <a:cxn ang="0">
                <a:pos x="connsiteX3" y="connsiteY3"/>
              </a:cxn>
            </a:cxnLst>
            <a:rect l="l" t="t" r="r" b="b"/>
            <a:pathLst>
              <a:path w="826425" h="817053">
                <a:moveTo>
                  <a:pt x="475888" y="0"/>
                </a:moveTo>
                <a:lnTo>
                  <a:pt x="826425" y="683524"/>
                </a:lnTo>
                <a:lnTo>
                  <a:pt x="744344" y="817053"/>
                </a:lnTo>
                <a:lnTo>
                  <a:pt x="0" y="803171"/>
                </a:lnTo>
              </a:path>
            </a:pathLst>
          </a:custGeom>
          <a:gradFill flip="none" rotWithShape="1">
            <a:gsLst>
              <a:gs pos="24000">
                <a:srgbClr val="B6CB4C">
                  <a:alpha val="57647"/>
                </a:srgbClr>
              </a:gs>
              <a:gs pos="80000">
                <a:sysClr val="window" lastClr="FFFFFF">
                  <a:lumMod val="95000"/>
                </a:sysClr>
              </a:gs>
            </a:gsLst>
            <a:lin ang="12600000" scaled="0"/>
            <a:tileRect/>
          </a:gradFill>
          <a:ln w="9525" cap="flat" cmpd="sng" algn="ctr">
            <a:solidFill>
              <a:srgbClr val="85888B"/>
            </a:solidFill>
            <a:prstDash val="dash"/>
          </a:ln>
          <a:effectLst/>
        </p:spPr>
        <p:txBody>
          <a:bodyPr rtlCol="0" anchor="ctr"/>
          <a:lstStyle/>
          <a:p>
            <a:pPr algn="ctr">
              <a:defRPr/>
            </a:pPr>
            <a:endParaRPr lang="en-GB" kern="0">
              <a:solidFill>
                <a:srgbClr val="000000"/>
              </a:solidFill>
            </a:endParaRPr>
          </a:p>
        </p:txBody>
      </p:sp>
      <p:sp>
        <p:nvSpPr>
          <p:cNvPr id="130" name="AutoShape 6">
            <a:extLst>
              <a:ext uri="{FF2B5EF4-FFF2-40B4-BE49-F238E27FC236}">
                <a16:creationId xmlns:a16="http://schemas.microsoft.com/office/drawing/2014/main" id="{A8A2687F-7ADC-4C77-9D86-742CE40BE7EB}"/>
              </a:ext>
            </a:extLst>
          </p:cNvPr>
          <p:cNvSpPr>
            <a:spLocks noChangeArrowheads="1"/>
          </p:cNvSpPr>
          <p:nvPr>
            <p:custDataLst>
              <p:tags r:id="rId8"/>
            </p:custDataLst>
          </p:nvPr>
        </p:nvSpPr>
        <p:spPr bwMode="auto">
          <a:xfrm>
            <a:off x="5052140" y="1567413"/>
            <a:ext cx="2052000" cy="648048"/>
          </a:xfrm>
          <a:prstGeom prst="roundRect">
            <a:avLst/>
          </a:prstGeom>
          <a:solidFill>
            <a:srgbClr val="55601C">
              <a:lumMod val="60000"/>
              <a:lumOff val="40000"/>
            </a:srgbClr>
          </a:solidFill>
          <a:ln w="3175" algn="ctr">
            <a:noFill/>
            <a:miter lim="800000"/>
            <a:headEnd/>
            <a:tailEnd/>
          </a:ln>
          <a:effectLst/>
        </p:spPr>
        <p:txBody>
          <a:bodyPr lIns="72000" rIns="72000" anchor="ctr"/>
          <a:lstStyle/>
          <a:p>
            <a:pPr algn="ctr" eaLnBrk="0" hangingPunct="0">
              <a:tabLst>
                <a:tab pos="6464300" algn="r"/>
              </a:tabLst>
            </a:pPr>
            <a:r>
              <a:rPr lang="pl-PL" sz="1400" b="1" kern="0" dirty="0">
                <a:solidFill>
                  <a:srgbClr val="FFFFFF"/>
                </a:solidFill>
              </a:rPr>
              <a:t>LOW COST</a:t>
            </a:r>
            <a:endParaRPr lang="de-DE" sz="1400" b="1" kern="0" dirty="0">
              <a:solidFill>
                <a:srgbClr val="FFFFFF"/>
              </a:solidFill>
            </a:endParaRPr>
          </a:p>
        </p:txBody>
      </p:sp>
      <p:sp>
        <p:nvSpPr>
          <p:cNvPr id="132" name="AutoShape 10">
            <a:extLst>
              <a:ext uri="{FF2B5EF4-FFF2-40B4-BE49-F238E27FC236}">
                <a16:creationId xmlns:a16="http://schemas.microsoft.com/office/drawing/2014/main" id="{BDE86366-E596-4758-A535-4B05A8BCE90A}"/>
              </a:ext>
            </a:extLst>
          </p:cNvPr>
          <p:cNvSpPr>
            <a:spLocks noChangeArrowheads="1"/>
          </p:cNvSpPr>
          <p:nvPr>
            <p:custDataLst>
              <p:tags r:id="rId9"/>
            </p:custDataLst>
          </p:nvPr>
        </p:nvSpPr>
        <p:spPr bwMode="auto">
          <a:xfrm>
            <a:off x="6708370" y="5599931"/>
            <a:ext cx="2052000" cy="648048"/>
          </a:xfrm>
          <a:prstGeom prst="roundRect">
            <a:avLst/>
          </a:prstGeom>
          <a:solidFill>
            <a:srgbClr val="FFC000"/>
          </a:solidFill>
          <a:ln w="3175" algn="ctr">
            <a:noFill/>
            <a:miter lim="800000"/>
            <a:headEnd/>
            <a:tailEnd/>
          </a:ln>
          <a:effectLst/>
        </p:spPr>
        <p:txBody>
          <a:bodyPr lIns="72000" rIns="72000" anchor="ctr"/>
          <a:lstStyle/>
          <a:p>
            <a:pPr algn="ctr" eaLnBrk="0" hangingPunct="0">
              <a:lnSpc>
                <a:spcPct val="85000"/>
              </a:lnSpc>
              <a:buClr>
                <a:srgbClr val="774A39"/>
              </a:buClr>
              <a:defRPr/>
            </a:pPr>
            <a:r>
              <a:rPr lang="en-GB" sz="1400" b="1" kern="0" dirty="0">
                <a:solidFill>
                  <a:schemeClr val="bg1"/>
                </a:solidFill>
              </a:rPr>
              <a:t>MOBILITY</a:t>
            </a:r>
          </a:p>
        </p:txBody>
      </p:sp>
      <p:sp>
        <p:nvSpPr>
          <p:cNvPr id="133" name="AutoShape 10">
            <a:extLst>
              <a:ext uri="{FF2B5EF4-FFF2-40B4-BE49-F238E27FC236}">
                <a16:creationId xmlns:a16="http://schemas.microsoft.com/office/drawing/2014/main" id="{D5E014C0-4ED9-4ABD-8D01-9D36062E1D1B}"/>
              </a:ext>
            </a:extLst>
          </p:cNvPr>
          <p:cNvSpPr>
            <a:spLocks noChangeArrowheads="1"/>
          </p:cNvSpPr>
          <p:nvPr>
            <p:custDataLst>
              <p:tags r:id="rId10"/>
            </p:custDataLst>
          </p:nvPr>
        </p:nvSpPr>
        <p:spPr bwMode="auto">
          <a:xfrm>
            <a:off x="7896250" y="3943701"/>
            <a:ext cx="2052000" cy="648048"/>
          </a:xfrm>
          <a:prstGeom prst="roundRect">
            <a:avLst/>
          </a:prstGeom>
          <a:solidFill>
            <a:schemeClr val="bg2">
              <a:lumMod val="75000"/>
            </a:schemeClr>
          </a:solidFill>
          <a:ln w="3175" algn="ctr">
            <a:noFill/>
            <a:miter lim="800000"/>
            <a:headEnd/>
            <a:tailEnd/>
          </a:ln>
          <a:effectLst/>
        </p:spPr>
        <p:txBody>
          <a:bodyPr lIns="72000" rIns="72000" anchor="ctr"/>
          <a:lstStyle/>
          <a:p>
            <a:pPr algn="ctr" eaLnBrk="0" hangingPunct="0">
              <a:lnSpc>
                <a:spcPct val="85000"/>
              </a:lnSpc>
              <a:buClr>
                <a:srgbClr val="774A39"/>
              </a:buClr>
              <a:defRPr/>
            </a:pPr>
            <a:r>
              <a:rPr lang="en-GB" sz="1400" b="1" kern="0" dirty="0">
                <a:solidFill>
                  <a:schemeClr val="bg1"/>
                </a:solidFill>
              </a:rPr>
              <a:t>SOFTWARE</a:t>
            </a:r>
          </a:p>
          <a:p>
            <a:pPr algn="ctr" eaLnBrk="0" hangingPunct="0">
              <a:lnSpc>
                <a:spcPct val="85000"/>
              </a:lnSpc>
              <a:buClr>
                <a:srgbClr val="774A39"/>
              </a:buClr>
              <a:defRPr/>
            </a:pPr>
            <a:r>
              <a:rPr lang="en-GB" sz="1400" b="1" kern="0" dirty="0">
                <a:solidFill>
                  <a:schemeClr val="bg1"/>
                </a:solidFill>
              </a:rPr>
              <a:t>UPDATE</a:t>
            </a:r>
            <a:r>
              <a:rPr lang="pl-PL" sz="1400" b="1" kern="0" dirty="0">
                <a:solidFill>
                  <a:schemeClr val="bg1"/>
                </a:solidFill>
              </a:rPr>
              <a:t>S</a:t>
            </a:r>
            <a:endParaRPr lang="en-GB" sz="1400" b="1" kern="0" dirty="0">
              <a:solidFill>
                <a:schemeClr val="bg1"/>
              </a:solidFill>
            </a:endParaRPr>
          </a:p>
        </p:txBody>
      </p:sp>
      <p:sp>
        <p:nvSpPr>
          <p:cNvPr id="135" name="AutoShape 19">
            <a:extLst>
              <a:ext uri="{FF2B5EF4-FFF2-40B4-BE49-F238E27FC236}">
                <a16:creationId xmlns:a16="http://schemas.microsoft.com/office/drawing/2014/main" id="{2D93EF9A-4BD6-412B-BC74-C1ED04722B61}"/>
              </a:ext>
            </a:extLst>
          </p:cNvPr>
          <p:cNvSpPr>
            <a:spLocks noChangeArrowheads="1"/>
          </p:cNvSpPr>
          <p:nvPr>
            <p:custDataLst>
              <p:tags r:id="rId11"/>
            </p:custDataLst>
          </p:nvPr>
        </p:nvSpPr>
        <p:spPr bwMode="auto">
          <a:xfrm>
            <a:off x="3431630" y="5599931"/>
            <a:ext cx="2052000" cy="648048"/>
          </a:xfrm>
          <a:prstGeom prst="roundRect">
            <a:avLst/>
          </a:prstGeom>
          <a:solidFill>
            <a:schemeClr val="tx2"/>
          </a:solidFill>
          <a:ln w="3175" algn="ctr">
            <a:noFill/>
            <a:miter lim="800000"/>
            <a:headEnd/>
            <a:tailEnd/>
          </a:ln>
          <a:effectLst/>
        </p:spPr>
        <p:txBody>
          <a:bodyPr lIns="72000" rIns="72000" anchor="ctr"/>
          <a:lstStyle/>
          <a:p>
            <a:pPr algn="ctr" eaLnBrk="0" hangingPunct="0">
              <a:lnSpc>
                <a:spcPct val="85000"/>
              </a:lnSpc>
              <a:buClr>
                <a:srgbClr val="774A39"/>
              </a:buClr>
              <a:defRPr/>
            </a:pPr>
            <a:r>
              <a:rPr lang="en-GB" sz="1400" b="1" kern="0" dirty="0">
                <a:solidFill>
                  <a:srgbClr val="FFFFFF"/>
                </a:solidFill>
              </a:rPr>
              <a:t>DATA LOST </a:t>
            </a:r>
          </a:p>
          <a:p>
            <a:pPr algn="ctr" eaLnBrk="0" hangingPunct="0">
              <a:lnSpc>
                <a:spcPct val="85000"/>
              </a:lnSpc>
              <a:buClr>
                <a:srgbClr val="774A39"/>
              </a:buClr>
              <a:defRPr/>
            </a:pPr>
            <a:r>
              <a:rPr lang="en-GB" sz="1400" b="1" kern="0" dirty="0">
                <a:solidFill>
                  <a:srgbClr val="FFFFFF"/>
                </a:solidFill>
              </a:rPr>
              <a:t>PREVENTION</a:t>
            </a:r>
          </a:p>
        </p:txBody>
      </p:sp>
      <p:sp>
        <p:nvSpPr>
          <p:cNvPr id="137" name="AutoShape 19">
            <a:extLst>
              <a:ext uri="{FF2B5EF4-FFF2-40B4-BE49-F238E27FC236}">
                <a16:creationId xmlns:a16="http://schemas.microsoft.com/office/drawing/2014/main" id="{604470BC-36F5-4423-808F-F41378C4BAB3}"/>
              </a:ext>
            </a:extLst>
          </p:cNvPr>
          <p:cNvSpPr>
            <a:spLocks noChangeArrowheads="1"/>
          </p:cNvSpPr>
          <p:nvPr>
            <p:custDataLst>
              <p:tags r:id="rId12"/>
            </p:custDataLst>
          </p:nvPr>
        </p:nvSpPr>
        <p:spPr bwMode="auto">
          <a:xfrm>
            <a:off x="2603800" y="2359523"/>
            <a:ext cx="2052000" cy="648048"/>
          </a:xfrm>
          <a:prstGeom prst="roundRect">
            <a:avLst/>
          </a:prstGeom>
          <a:solidFill>
            <a:schemeClr val="accent4"/>
          </a:solidFill>
          <a:ln w="3175" algn="ctr">
            <a:noFill/>
            <a:miter lim="800000"/>
            <a:headEnd/>
            <a:tailEnd/>
          </a:ln>
          <a:effectLst/>
        </p:spPr>
        <p:txBody>
          <a:bodyPr lIns="72000" rIns="72000" anchor="ctr"/>
          <a:lstStyle/>
          <a:p>
            <a:pPr algn="ctr" eaLnBrk="0" hangingPunct="0">
              <a:lnSpc>
                <a:spcPct val="85000"/>
              </a:lnSpc>
              <a:buClr>
                <a:srgbClr val="774A39"/>
              </a:buClr>
              <a:defRPr/>
            </a:pPr>
            <a:r>
              <a:rPr lang="en-GB" sz="1400" b="1" kern="0" dirty="0">
                <a:solidFill>
                  <a:srgbClr val="FFFFFF"/>
                </a:solidFill>
              </a:rPr>
              <a:t>PRODUCTIVITY</a:t>
            </a:r>
          </a:p>
        </p:txBody>
      </p:sp>
      <p:sp>
        <p:nvSpPr>
          <p:cNvPr id="139" name="AutoShape 19">
            <a:extLst>
              <a:ext uri="{FF2B5EF4-FFF2-40B4-BE49-F238E27FC236}">
                <a16:creationId xmlns:a16="http://schemas.microsoft.com/office/drawing/2014/main" id="{AD4E456D-6BE8-4417-985C-1E120BB828D0}"/>
              </a:ext>
            </a:extLst>
          </p:cNvPr>
          <p:cNvSpPr>
            <a:spLocks noChangeArrowheads="1"/>
          </p:cNvSpPr>
          <p:nvPr>
            <p:custDataLst>
              <p:tags r:id="rId13"/>
            </p:custDataLst>
          </p:nvPr>
        </p:nvSpPr>
        <p:spPr bwMode="auto">
          <a:xfrm>
            <a:off x="2207460" y="3943701"/>
            <a:ext cx="2052000" cy="648048"/>
          </a:xfrm>
          <a:prstGeom prst="roundRect">
            <a:avLst/>
          </a:prstGeom>
          <a:solidFill>
            <a:schemeClr val="accent2"/>
          </a:solidFill>
          <a:ln w="3175" algn="ctr">
            <a:noFill/>
            <a:miter lim="800000"/>
            <a:headEnd/>
            <a:tailEnd/>
          </a:ln>
          <a:effectLst/>
        </p:spPr>
        <p:txBody>
          <a:bodyPr lIns="72000" rIns="72000" anchor="ctr"/>
          <a:lstStyle/>
          <a:p>
            <a:pPr algn="ctr" eaLnBrk="0" hangingPunct="0">
              <a:lnSpc>
                <a:spcPct val="85000"/>
              </a:lnSpc>
              <a:buClr>
                <a:srgbClr val="774A39"/>
              </a:buClr>
              <a:defRPr/>
            </a:pPr>
            <a:r>
              <a:rPr lang="en-GB" sz="1400" b="1" kern="0" dirty="0">
                <a:solidFill>
                  <a:srgbClr val="FFFFFF"/>
                </a:solidFill>
              </a:rPr>
              <a:t>SECURITY</a:t>
            </a:r>
          </a:p>
        </p:txBody>
      </p:sp>
      <p:sp>
        <p:nvSpPr>
          <p:cNvPr id="141" name="Rectangle 21">
            <a:extLst>
              <a:ext uri="{FF2B5EF4-FFF2-40B4-BE49-F238E27FC236}">
                <a16:creationId xmlns:a16="http://schemas.microsoft.com/office/drawing/2014/main" id="{520D3C5E-B160-406D-B150-E714453A418D}"/>
              </a:ext>
            </a:extLst>
          </p:cNvPr>
          <p:cNvSpPr>
            <a:spLocks noChangeArrowheads="1"/>
          </p:cNvSpPr>
          <p:nvPr/>
        </p:nvSpPr>
        <p:spPr bwMode="auto">
          <a:xfrm>
            <a:off x="4781645" y="3831632"/>
            <a:ext cx="2628713" cy="461665"/>
          </a:xfrm>
          <a:prstGeom prst="rect">
            <a:avLst/>
          </a:prstGeom>
          <a:noFill/>
          <a:ln w="9525">
            <a:noFill/>
            <a:miter lim="800000"/>
            <a:headEnd/>
            <a:tailEnd/>
          </a:ln>
        </p:spPr>
        <p:txBody>
          <a:bodyPr>
            <a:spAutoFit/>
          </a:bodyPr>
          <a:lstStyle/>
          <a:p>
            <a:pPr algn="ctr">
              <a:spcBef>
                <a:spcPct val="30000"/>
              </a:spcBef>
              <a:buClr>
                <a:srgbClr val="B10034"/>
              </a:buClr>
              <a:defRPr/>
            </a:pPr>
            <a:r>
              <a:rPr lang="pl-PL" sz="2400" b="1" kern="0" dirty="0">
                <a:solidFill>
                  <a:srgbClr val="000000">
                    <a:lumMod val="85000"/>
                    <a:lumOff val="15000"/>
                  </a:srgbClr>
                </a:solidFill>
                <a:cs typeface="Calibri"/>
                <a:sym typeface="Calibri"/>
              </a:rPr>
              <a:t>Cloud</a:t>
            </a:r>
            <a:endParaRPr lang="en-GB" sz="2400" b="1" kern="0" dirty="0">
              <a:solidFill>
                <a:srgbClr val="000000">
                  <a:lumMod val="85000"/>
                  <a:lumOff val="15000"/>
                </a:srgbClr>
              </a:solidFill>
              <a:cs typeface="Calibri"/>
              <a:sym typeface="Calibri"/>
            </a:endParaRPr>
          </a:p>
        </p:txBody>
      </p:sp>
      <p:sp>
        <p:nvSpPr>
          <p:cNvPr id="142" name="Oval 44">
            <a:extLst>
              <a:ext uri="{FF2B5EF4-FFF2-40B4-BE49-F238E27FC236}">
                <a16:creationId xmlns:a16="http://schemas.microsoft.com/office/drawing/2014/main" id="{DD2F7414-4ABC-4CC3-8165-6F675F57060F}"/>
              </a:ext>
            </a:extLst>
          </p:cNvPr>
          <p:cNvSpPr>
            <a:spLocks noGrp="1" noChangeArrowheads="1"/>
          </p:cNvSpPr>
          <p:nvPr>
            <p:custDataLst>
              <p:tags r:id="rId14"/>
            </p:custDataLst>
          </p:nvPr>
        </p:nvSpPr>
        <p:spPr bwMode="auto">
          <a:xfrm>
            <a:off x="4727810" y="2611516"/>
            <a:ext cx="2736380" cy="2736380"/>
          </a:xfrm>
          <a:prstGeom prst="ellipse">
            <a:avLst/>
          </a:prstGeom>
          <a:noFill/>
          <a:ln w="38100">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lgn="ctr">
              <a:lnSpc>
                <a:spcPct val="90000"/>
              </a:lnSpc>
              <a:defRPr/>
            </a:pPr>
            <a:endParaRPr lang="en-GB" sz="1400" dirty="0"/>
          </a:p>
        </p:txBody>
      </p:sp>
      <p:sp>
        <p:nvSpPr>
          <p:cNvPr id="143" name="AutoShape 19">
            <a:extLst>
              <a:ext uri="{FF2B5EF4-FFF2-40B4-BE49-F238E27FC236}">
                <a16:creationId xmlns:a16="http://schemas.microsoft.com/office/drawing/2014/main" id="{3A18BFB9-4F30-41FA-BD8F-B2E996D2F364}"/>
              </a:ext>
            </a:extLst>
          </p:cNvPr>
          <p:cNvSpPr>
            <a:spLocks noChangeArrowheads="1"/>
          </p:cNvSpPr>
          <p:nvPr>
            <p:custDataLst>
              <p:tags r:id="rId15"/>
            </p:custDataLst>
          </p:nvPr>
        </p:nvSpPr>
        <p:spPr bwMode="auto">
          <a:xfrm>
            <a:off x="7536200" y="2359523"/>
            <a:ext cx="2052000" cy="648048"/>
          </a:xfrm>
          <a:prstGeom prst="roundRect">
            <a:avLst/>
          </a:prstGeom>
          <a:solidFill>
            <a:schemeClr val="accent5"/>
          </a:solidFill>
          <a:ln w="3175" algn="ctr">
            <a:noFill/>
            <a:miter lim="800000"/>
            <a:headEnd/>
            <a:tailEnd/>
          </a:ln>
          <a:effectLst/>
        </p:spPr>
        <p:txBody>
          <a:bodyPr lIns="72000" rIns="72000" anchor="ctr"/>
          <a:lstStyle/>
          <a:p>
            <a:pPr algn="ctr" eaLnBrk="0" hangingPunct="0">
              <a:lnSpc>
                <a:spcPct val="85000"/>
              </a:lnSpc>
              <a:buClr>
                <a:srgbClr val="774A39"/>
              </a:buClr>
              <a:defRPr/>
            </a:pPr>
            <a:r>
              <a:rPr lang="en-GB" sz="1400" b="1" kern="0" dirty="0">
                <a:solidFill>
                  <a:srgbClr val="FFFFFF"/>
                </a:solidFill>
              </a:rPr>
              <a:t>FLEXIBILITY</a:t>
            </a:r>
          </a:p>
        </p:txBody>
      </p:sp>
      <p:sp>
        <p:nvSpPr>
          <p:cNvPr id="144" name="Oval 48">
            <a:extLst>
              <a:ext uri="{FF2B5EF4-FFF2-40B4-BE49-F238E27FC236}">
                <a16:creationId xmlns:a16="http://schemas.microsoft.com/office/drawing/2014/main" id="{C902954D-A874-473D-A0B3-B9274904CFE2}"/>
              </a:ext>
            </a:extLst>
          </p:cNvPr>
          <p:cNvSpPr>
            <a:spLocks noGrp="1" noChangeAspect="1" noChangeArrowheads="1"/>
          </p:cNvSpPr>
          <p:nvPr>
            <p:custDataLst>
              <p:tags r:id="rId16"/>
            </p:custDataLst>
          </p:nvPr>
        </p:nvSpPr>
        <p:spPr bwMode="auto">
          <a:xfrm>
            <a:off x="7032130" y="2994871"/>
            <a:ext cx="288040" cy="288040"/>
          </a:xfrm>
          <a:prstGeom prst="ellipse">
            <a:avLst/>
          </a:pr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lgn="ctr">
              <a:lnSpc>
                <a:spcPct val="90000"/>
              </a:lnSpc>
              <a:defRPr/>
            </a:pPr>
            <a:endParaRPr lang="en-GB" sz="1400" dirty="0"/>
          </a:p>
        </p:txBody>
      </p:sp>
      <p:sp>
        <p:nvSpPr>
          <p:cNvPr id="145" name="Oval 48">
            <a:extLst>
              <a:ext uri="{FF2B5EF4-FFF2-40B4-BE49-F238E27FC236}">
                <a16:creationId xmlns:a16="http://schemas.microsoft.com/office/drawing/2014/main" id="{1299B235-BC60-4904-9433-B77CF4B1DB4D}"/>
              </a:ext>
            </a:extLst>
          </p:cNvPr>
          <p:cNvSpPr>
            <a:spLocks noGrp="1" noChangeAspect="1" noChangeArrowheads="1"/>
          </p:cNvSpPr>
          <p:nvPr>
            <p:custDataLst>
              <p:tags r:id="rId17"/>
            </p:custDataLst>
          </p:nvPr>
        </p:nvSpPr>
        <p:spPr bwMode="auto">
          <a:xfrm>
            <a:off x="7310880" y="4123141"/>
            <a:ext cx="288040" cy="288040"/>
          </a:xfrm>
          <a:prstGeom prst="ellipse">
            <a:avLst/>
          </a:prstGeom>
          <a:solidFill>
            <a:schemeClr val="bg2">
              <a:lumMod val="7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lgn="ctr">
              <a:lnSpc>
                <a:spcPct val="90000"/>
              </a:lnSpc>
              <a:defRPr/>
            </a:pPr>
            <a:endParaRPr lang="en-GB" sz="1400" dirty="0"/>
          </a:p>
        </p:txBody>
      </p:sp>
      <p:sp>
        <p:nvSpPr>
          <p:cNvPr id="146" name="Oval 48">
            <a:extLst>
              <a:ext uri="{FF2B5EF4-FFF2-40B4-BE49-F238E27FC236}">
                <a16:creationId xmlns:a16="http://schemas.microsoft.com/office/drawing/2014/main" id="{1F65D2BB-3B78-4BEA-B354-C8F4CF96B0E6}"/>
              </a:ext>
            </a:extLst>
          </p:cNvPr>
          <p:cNvSpPr>
            <a:spLocks noGrp="1" noChangeAspect="1" noChangeArrowheads="1"/>
          </p:cNvSpPr>
          <p:nvPr>
            <p:custDataLst>
              <p:tags r:id="rId18"/>
            </p:custDataLst>
          </p:nvPr>
        </p:nvSpPr>
        <p:spPr bwMode="auto">
          <a:xfrm>
            <a:off x="6609440" y="5032701"/>
            <a:ext cx="288040" cy="288040"/>
          </a:xfrm>
          <a:prstGeom prst="ellipse">
            <a:avLst/>
          </a:prstGeom>
          <a:solidFill>
            <a:schemeClr val="accent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lgn="ctr">
              <a:lnSpc>
                <a:spcPct val="90000"/>
              </a:lnSpc>
              <a:defRPr/>
            </a:pPr>
            <a:endParaRPr lang="en-GB" sz="1400" dirty="0"/>
          </a:p>
        </p:txBody>
      </p:sp>
      <p:sp>
        <p:nvSpPr>
          <p:cNvPr id="147" name="Oval 48">
            <a:extLst>
              <a:ext uri="{FF2B5EF4-FFF2-40B4-BE49-F238E27FC236}">
                <a16:creationId xmlns:a16="http://schemas.microsoft.com/office/drawing/2014/main" id="{CF351E07-E583-4B30-BC5F-855B02CB62F2}"/>
              </a:ext>
            </a:extLst>
          </p:cNvPr>
          <p:cNvSpPr>
            <a:spLocks noGrp="1" noChangeAspect="1" noChangeArrowheads="1"/>
          </p:cNvSpPr>
          <p:nvPr>
            <p:custDataLst>
              <p:tags r:id="rId19"/>
            </p:custDataLst>
          </p:nvPr>
        </p:nvSpPr>
        <p:spPr bwMode="auto">
          <a:xfrm>
            <a:off x="5351750" y="5032701"/>
            <a:ext cx="288040" cy="288040"/>
          </a:xfrm>
          <a:prstGeom prst="ellipse">
            <a:avLst/>
          </a:prstGeom>
          <a:solidFill>
            <a:schemeClr val="tx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lgn="ctr">
              <a:lnSpc>
                <a:spcPct val="90000"/>
              </a:lnSpc>
              <a:defRPr/>
            </a:pPr>
            <a:endParaRPr lang="en-GB" sz="1400" dirty="0"/>
          </a:p>
        </p:txBody>
      </p:sp>
      <p:sp>
        <p:nvSpPr>
          <p:cNvPr id="148" name="Oval 48">
            <a:extLst>
              <a:ext uri="{FF2B5EF4-FFF2-40B4-BE49-F238E27FC236}">
                <a16:creationId xmlns:a16="http://schemas.microsoft.com/office/drawing/2014/main" id="{EA89726C-8BF6-4CD1-9DCE-1E35491C4C9B}"/>
              </a:ext>
            </a:extLst>
          </p:cNvPr>
          <p:cNvSpPr>
            <a:spLocks noGrp="1" noChangeAspect="1" noChangeArrowheads="1"/>
          </p:cNvSpPr>
          <p:nvPr>
            <p:custDataLst>
              <p:tags r:id="rId20"/>
            </p:custDataLst>
          </p:nvPr>
        </p:nvSpPr>
        <p:spPr bwMode="auto">
          <a:xfrm>
            <a:off x="4613380" y="4123141"/>
            <a:ext cx="288040" cy="288040"/>
          </a:xfrm>
          <a:prstGeom prst="ellipse">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lgn="ctr">
              <a:lnSpc>
                <a:spcPct val="90000"/>
              </a:lnSpc>
              <a:defRPr/>
            </a:pPr>
            <a:endParaRPr lang="en-GB" sz="1400" dirty="0"/>
          </a:p>
        </p:txBody>
      </p:sp>
      <p:sp>
        <p:nvSpPr>
          <p:cNvPr id="149" name="Oval 48">
            <a:extLst>
              <a:ext uri="{FF2B5EF4-FFF2-40B4-BE49-F238E27FC236}">
                <a16:creationId xmlns:a16="http://schemas.microsoft.com/office/drawing/2014/main" id="{6D0B39D9-6F89-4AE7-8D4E-A9FAD3964DB5}"/>
              </a:ext>
            </a:extLst>
          </p:cNvPr>
          <p:cNvSpPr>
            <a:spLocks noGrp="1" noChangeAspect="1" noChangeArrowheads="1"/>
          </p:cNvSpPr>
          <p:nvPr>
            <p:custDataLst>
              <p:tags r:id="rId21"/>
            </p:custDataLst>
          </p:nvPr>
        </p:nvSpPr>
        <p:spPr bwMode="auto">
          <a:xfrm>
            <a:off x="4904230" y="2994871"/>
            <a:ext cx="288040" cy="288040"/>
          </a:xfrm>
          <a:prstGeom prst="ellipse">
            <a:avLst/>
          </a:prstGeom>
          <a:solidFill>
            <a:schemeClr val="accent4"/>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lgn="ctr">
              <a:lnSpc>
                <a:spcPct val="90000"/>
              </a:lnSpc>
              <a:defRPr/>
            </a:pPr>
            <a:endParaRPr lang="en-GB" sz="1400" dirty="0"/>
          </a:p>
        </p:txBody>
      </p:sp>
      <p:sp>
        <p:nvSpPr>
          <p:cNvPr id="150" name="Oval 48">
            <a:extLst>
              <a:ext uri="{FF2B5EF4-FFF2-40B4-BE49-F238E27FC236}">
                <a16:creationId xmlns:a16="http://schemas.microsoft.com/office/drawing/2014/main" id="{EF1E679B-7FA5-4FEE-87ED-D51C6CBA4C9C}"/>
              </a:ext>
            </a:extLst>
          </p:cNvPr>
          <p:cNvSpPr>
            <a:spLocks noGrp="1" noChangeAspect="1" noChangeArrowheads="1"/>
          </p:cNvSpPr>
          <p:nvPr>
            <p:custDataLst>
              <p:tags r:id="rId22"/>
            </p:custDataLst>
          </p:nvPr>
        </p:nvSpPr>
        <p:spPr bwMode="auto">
          <a:xfrm>
            <a:off x="5963170" y="2459441"/>
            <a:ext cx="288040" cy="288040"/>
          </a:xfrm>
          <a:prstGeom prst="ellipse">
            <a:avLst/>
          </a:prstGeom>
          <a:solidFill>
            <a:srgbClr val="B6CB4C"/>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lgn="ctr">
              <a:lnSpc>
                <a:spcPct val="90000"/>
              </a:lnSpc>
              <a:defRPr/>
            </a:pPr>
            <a:endParaRPr lang="en-GB" sz="1400" dirty="0"/>
          </a:p>
        </p:txBody>
      </p:sp>
    </p:spTree>
    <p:extLst>
      <p:ext uri="{BB962C8B-B14F-4D97-AF65-F5344CB8AC3E}">
        <p14:creationId xmlns:p14="http://schemas.microsoft.com/office/powerpoint/2010/main" val="6771045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22809-E942-4FC8-A26C-1D152562B24E}"/>
              </a:ext>
            </a:extLst>
          </p:cNvPr>
          <p:cNvSpPr>
            <a:spLocks noGrp="1"/>
          </p:cNvSpPr>
          <p:nvPr>
            <p:ph type="title"/>
          </p:nvPr>
        </p:nvSpPr>
        <p:spPr/>
        <p:txBody>
          <a:bodyPr/>
          <a:lstStyle/>
          <a:p>
            <a:r>
              <a:rPr lang="pl-PL" dirty="0"/>
              <a:t>Cloud advantages</a:t>
            </a:r>
            <a:endParaRPr lang="de-DE" dirty="0"/>
          </a:p>
        </p:txBody>
      </p:sp>
      <p:sp>
        <p:nvSpPr>
          <p:cNvPr id="4" name="Footer Placeholder 3">
            <a:extLst>
              <a:ext uri="{FF2B5EF4-FFF2-40B4-BE49-F238E27FC236}">
                <a16:creationId xmlns:a16="http://schemas.microsoft.com/office/drawing/2014/main" id="{63077AE3-47CE-486F-9BC6-174246BA52B9}"/>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C06CBE7-BEFD-49F1-B680-FDB0226D56C3}"/>
              </a:ext>
            </a:extLst>
          </p:cNvPr>
          <p:cNvSpPr>
            <a:spLocks noGrp="1"/>
          </p:cNvSpPr>
          <p:nvPr>
            <p:ph type="sldNum" sz="quarter" idx="16"/>
          </p:nvPr>
        </p:nvSpPr>
        <p:spPr/>
        <p:txBody>
          <a:bodyPr/>
          <a:lstStyle/>
          <a:p>
            <a:fld id="{DD205EFF-948D-4AF6-B54C-65639188FB5F}" type="slidenum">
              <a:rPr lang="en-US" smtClean="0"/>
              <a:pPr/>
              <a:t>6</a:t>
            </a:fld>
            <a:endParaRPr lang="en-US" dirty="0"/>
          </a:p>
        </p:txBody>
      </p:sp>
      <p:graphicFrame>
        <p:nvGraphicFramePr>
          <p:cNvPr id="6" name="Diagram 5">
            <a:extLst>
              <a:ext uri="{FF2B5EF4-FFF2-40B4-BE49-F238E27FC236}">
                <a16:creationId xmlns:a16="http://schemas.microsoft.com/office/drawing/2014/main" id="{E6B2583A-D8C7-40B7-AEFE-13E6C9B907DB}"/>
              </a:ext>
            </a:extLst>
          </p:cNvPr>
          <p:cNvGraphicFramePr/>
          <p:nvPr>
            <p:extLst>
              <p:ext uri="{D42A27DB-BD31-4B8C-83A1-F6EECF244321}">
                <p14:modId xmlns:p14="http://schemas.microsoft.com/office/powerpoint/2010/main" val="3204924010"/>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895407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dirty="0"/>
              <a:t>Cloud Service Models</a:t>
            </a:r>
            <a:endParaRPr lang="de-DE" dirty="0"/>
          </a:p>
        </p:txBody>
      </p:sp>
      <p:sp>
        <p:nvSpPr>
          <p:cNvPr id="3" name="Text Placeholder 2">
            <a:extLst>
              <a:ext uri="{FF2B5EF4-FFF2-40B4-BE49-F238E27FC236}">
                <a16:creationId xmlns:a16="http://schemas.microsoft.com/office/drawing/2014/main" id="{ED6315FA-4F0A-4F18-9DE3-975239767032}"/>
              </a:ext>
            </a:extLst>
          </p:cNvPr>
          <p:cNvSpPr>
            <a:spLocks noGrp="1"/>
          </p:cNvSpPr>
          <p:nvPr>
            <p:ph type="body" sz="quarter" idx="13"/>
          </p:nvPr>
        </p:nvSpPr>
        <p:spPr>
          <a:xfrm>
            <a:off x="407988" y="1412875"/>
            <a:ext cx="11376025" cy="5040313"/>
          </a:xfrm>
        </p:spPr>
        <p:txBody>
          <a:bodyPr/>
          <a:lstStyle/>
          <a:p>
            <a:pPr marL="285750" indent="-285750">
              <a:buFont typeface="Arial" panose="020B0604020202020204" pitchFamily="34" charset="0"/>
              <a:buChar char="•"/>
            </a:pPr>
            <a:r>
              <a:rPr lang="pl-PL" dirty="0"/>
              <a:t>IaaS</a:t>
            </a:r>
          </a:p>
          <a:p>
            <a:pPr marL="285750" indent="-285750">
              <a:buFont typeface="Arial" panose="020B0604020202020204" pitchFamily="34" charset="0"/>
              <a:buChar char="•"/>
            </a:pPr>
            <a:r>
              <a:rPr lang="pl-PL" dirty="0"/>
              <a:t>PaaS</a:t>
            </a:r>
          </a:p>
          <a:p>
            <a:pPr marL="285750" indent="-285750">
              <a:buFont typeface="Arial" panose="020B0604020202020204" pitchFamily="34" charset="0"/>
              <a:buChar char="•"/>
            </a:pPr>
            <a:r>
              <a:rPr lang="pl-PL" dirty="0"/>
              <a:t>SaaS</a:t>
            </a:r>
          </a:p>
          <a:p>
            <a:pPr marL="285750" indent="-285750">
              <a:buFont typeface="Arial" panose="020B0604020202020204" pitchFamily="34" charset="0"/>
              <a:buChar char="•"/>
            </a:pPr>
            <a:r>
              <a:rPr lang="pl-PL" dirty="0"/>
              <a:t>XaaS</a:t>
            </a:r>
          </a:p>
          <a:p>
            <a:endParaRPr lang="pl-PL" dirty="0"/>
          </a:p>
          <a:p>
            <a:pPr marL="285750" indent="-285750">
              <a:buFont typeface="Arial" panose="020B0604020202020204" pitchFamily="34" charset="0"/>
              <a:buChar char="•"/>
            </a:pPr>
            <a:r>
              <a:rPr lang="pl-PL" dirty="0"/>
              <a:t>Receiving a service, getting subscription</a:t>
            </a:r>
          </a:p>
          <a:p>
            <a:pPr marL="285750" indent="-285750">
              <a:buFont typeface="Arial" panose="020B0604020202020204" pitchFamily="34" charset="0"/>
              <a:buChar char="•"/>
            </a:pPr>
            <a:r>
              <a:rPr lang="pl-PL" dirty="0"/>
              <a:t>Accessible over internet</a:t>
            </a:r>
          </a:p>
          <a:p>
            <a:pPr marL="285750" indent="-285750">
              <a:buFont typeface="Arial" panose="020B0604020202020204" pitchFamily="34" charset="0"/>
              <a:buChar char="•"/>
            </a:pPr>
            <a:r>
              <a:rPr lang="pl-PL" dirty="0"/>
              <a:t>Always available</a:t>
            </a:r>
          </a:p>
          <a:p>
            <a:pPr marL="285750" indent="-285750">
              <a:buFont typeface="Arial" panose="020B0604020202020204" pitchFamily="34" charset="0"/>
              <a:buChar char="•"/>
            </a:pPr>
            <a:r>
              <a:rPr lang="pl-PL" dirty="0"/>
              <a:t>Fixed cost per MB, per VM</a:t>
            </a:r>
          </a:p>
          <a:p>
            <a:pPr marL="285750" indent="-285750">
              <a:buFont typeface="Arial" panose="020B0604020202020204" pitchFamily="34" charset="0"/>
              <a:buChar char="•"/>
            </a:pPr>
            <a:r>
              <a:rPr lang="pl-PL" dirty="0"/>
              <a:t>Allocation based costs/Utilization</a:t>
            </a:r>
          </a:p>
          <a:p>
            <a:pPr marL="285750" indent="-285750">
              <a:buFont typeface="Arial" panose="020B0604020202020204" pitchFamily="34" charset="0"/>
              <a:buChar char="•"/>
            </a:pPr>
            <a:endParaRPr lang="pl-PL"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7</a:t>
            </a:fld>
            <a:endParaRPr lang="en-US" dirty="0"/>
          </a:p>
        </p:txBody>
      </p:sp>
    </p:spTree>
    <p:extLst>
      <p:ext uri="{BB962C8B-B14F-4D97-AF65-F5344CB8AC3E}">
        <p14:creationId xmlns:p14="http://schemas.microsoft.com/office/powerpoint/2010/main" val="2288684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Rectangle 141">
            <a:extLst>
              <a:ext uri="{FF2B5EF4-FFF2-40B4-BE49-F238E27FC236}">
                <a16:creationId xmlns:a16="http://schemas.microsoft.com/office/drawing/2014/main" id="{046DEE76-EFD4-4473-9710-59D2D42F4D3C}"/>
              </a:ext>
            </a:extLst>
          </p:cNvPr>
          <p:cNvSpPr/>
          <p:nvPr/>
        </p:nvSpPr>
        <p:spPr>
          <a:xfrm>
            <a:off x="5788579" y="1875466"/>
            <a:ext cx="2952328" cy="251753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141" name="Rectangle 140">
            <a:extLst>
              <a:ext uri="{FF2B5EF4-FFF2-40B4-BE49-F238E27FC236}">
                <a16:creationId xmlns:a16="http://schemas.microsoft.com/office/drawing/2014/main" id="{18B26221-BF20-43F5-AD45-47D6B280961D}"/>
              </a:ext>
            </a:extLst>
          </p:cNvPr>
          <p:cNvSpPr/>
          <p:nvPr/>
        </p:nvSpPr>
        <p:spPr>
          <a:xfrm>
            <a:off x="5788579" y="4472182"/>
            <a:ext cx="2952328" cy="196815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a:xfrm>
            <a:off x="407988" y="404813"/>
            <a:ext cx="11016604" cy="863601"/>
          </a:xfrm>
        </p:spPr>
        <p:txBody>
          <a:bodyPr/>
          <a:lstStyle/>
          <a:p>
            <a:r>
              <a:rPr lang="pl-PL" dirty="0"/>
              <a:t>IaaS</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8</a:t>
            </a:fld>
            <a:endParaRPr lang="en-US" dirty="0"/>
          </a:p>
        </p:txBody>
      </p:sp>
      <p:sp>
        <p:nvSpPr>
          <p:cNvPr id="7" name="Rectangle 6">
            <a:extLst>
              <a:ext uri="{FF2B5EF4-FFF2-40B4-BE49-F238E27FC236}">
                <a16:creationId xmlns:a16="http://schemas.microsoft.com/office/drawing/2014/main" id="{BE968BDB-CAC4-4719-AD7F-F915471522FE}"/>
              </a:ext>
            </a:extLst>
          </p:cNvPr>
          <p:cNvSpPr/>
          <p:nvPr/>
        </p:nvSpPr>
        <p:spPr>
          <a:xfrm>
            <a:off x="6153589" y="5933172"/>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Networking</a:t>
            </a:r>
            <a:endParaRPr lang="de-DE" sz="1400" dirty="0">
              <a:solidFill>
                <a:schemeClr val="tx1"/>
              </a:solidFill>
            </a:endParaRPr>
          </a:p>
        </p:txBody>
      </p:sp>
      <p:sp>
        <p:nvSpPr>
          <p:cNvPr id="8" name="Rectangle 7">
            <a:extLst>
              <a:ext uri="{FF2B5EF4-FFF2-40B4-BE49-F238E27FC236}">
                <a16:creationId xmlns:a16="http://schemas.microsoft.com/office/drawing/2014/main" id="{DFFF164D-004F-420C-8B2D-03344C6B3349}"/>
              </a:ext>
            </a:extLst>
          </p:cNvPr>
          <p:cNvSpPr/>
          <p:nvPr/>
        </p:nvSpPr>
        <p:spPr>
          <a:xfrm>
            <a:off x="6170768" y="5454210"/>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Storage</a:t>
            </a:r>
            <a:endParaRPr lang="de-DE" sz="1400" dirty="0">
              <a:solidFill>
                <a:schemeClr val="tx1"/>
              </a:solidFill>
            </a:endParaRPr>
          </a:p>
        </p:txBody>
      </p:sp>
      <p:sp>
        <p:nvSpPr>
          <p:cNvPr id="9" name="Rectangle 8">
            <a:extLst>
              <a:ext uri="{FF2B5EF4-FFF2-40B4-BE49-F238E27FC236}">
                <a16:creationId xmlns:a16="http://schemas.microsoft.com/office/drawing/2014/main" id="{9E3DFB46-9A23-414A-BF5B-3634865AA5EF}"/>
              </a:ext>
            </a:extLst>
          </p:cNvPr>
          <p:cNvSpPr/>
          <p:nvPr/>
        </p:nvSpPr>
        <p:spPr>
          <a:xfrm>
            <a:off x="6153589" y="4978871"/>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Servers</a:t>
            </a:r>
            <a:endParaRPr lang="de-DE" sz="1400" dirty="0">
              <a:solidFill>
                <a:schemeClr val="tx1"/>
              </a:solidFill>
            </a:endParaRPr>
          </a:p>
        </p:txBody>
      </p:sp>
      <p:sp>
        <p:nvSpPr>
          <p:cNvPr id="10" name="Rectangle 9">
            <a:extLst>
              <a:ext uri="{FF2B5EF4-FFF2-40B4-BE49-F238E27FC236}">
                <a16:creationId xmlns:a16="http://schemas.microsoft.com/office/drawing/2014/main" id="{C0DAF4C2-1839-4444-80AD-ED32109E4273}"/>
              </a:ext>
            </a:extLst>
          </p:cNvPr>
          <p:cNvSpPr/>
          <p:nvPr/>
        </p:nvSpPr>
        <p:spPr>
          <a:xfrm>
            <a:off x="6153589" y="4505329"/>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Virtualization</a:t>
            </a:r>
            <a:endParaRPr lang="de-DE" sz="1400" dirty="0">
              <a:solidFill>
                <a:schemeClr val="tx1"/>
              </a:solidFill>
            </a:endParaRPr>
          </a:p>
        </p:txBody>
      </p:sp>
      <p:sp>
        <p:nvSpPr>
          <p:cNvPr id="11" name="Rectangle 10">
            <a:extLst>
              <a:ext uri="{FF2B5EF4-FFF2-40B4-BE49-F238E27FC236}">
                <a16:creationId xmlns:a16="http://schemas.microsoft.com/office/drawing/2014/main" id="{4DA8911A-A3DB-4F37-9886-5CD2C839B9EE}"/>
              </a:ext>
            </a:extLst>
          </p:cNvPr>
          <p:cNvSpPr/>
          <p:nvPr/>
        </p:nvSpPr>
        <p:spPr>
          <a:xfrm>
            <a:off x="6178644" y="2527877"/>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Data</a:t>
            </a:r>
            <a:endParaRPr lang="de-DE" sz="1400" dirty="0">
              <a:solidFill>
                <a:schemeClr val="tx1"/>
              </a:solidFill>
            </a:endParaRPr>
          </a:p>
        </p:txBody>
      </p:sp>
      <p:sp>
        <p:nvSpPr>
          <p:cNvPr id="12" name="Rectangle 11">
            <a:extLst>
              <a:ext uri="{FF2B5EF4-FFF2-40B4-BE49-F238E27FC236}">
                <a16:creationId xmlns:a16="http://schemas.microsoft.com/office/drawing/2014/main" id="{E444FEAE-D73A-438F-AC51-3BB6322EE1CE}"/>
              </a:ext>
            </a:extLst>
          </p:cNvPr>
          <p:cNvSpPr/>
          <p:nvPr/>
        </p:nvSpPr>
        <p:spPr>
          <a:xfrm>
            <a:off x="6170768" y="3001871"/>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Runtime</a:t>
            </a:r>
            <a:endParaRPr lang="de-DE" sz="1400" dirty="0">
              <a:solidFill>
                <a:schemeClr val="tx1"/>
              </a:solidFill>
            </a:endParaRPr>
          </a:p>
        </p:txBody>
      </p:sp>
      <p:sp>
        <p:nvSpPr>
          <p:cNvPr id="13" name="Rectangle 12">
            <a:extLst>
              <a:ext uri="{FF2B5EF4-FFF2-40B4-BE49-F238E27FC236}">
                <a16:creationId xmlns:a16="http://schemas.microsoft.com/office/drawing/2014/main" id="{F3104137-7B65-47A8-8D2A-CE3B726BD719}"/>
              </a:ext>
            </a:extLst>
          </p:cNvPr>
          <p:cNvSpPr/>
          <p:nvPr/>
        </p:nvSpPr>
        <p:spPr>
          <a:xfrm>
            <a:off x="6150188" y="3511127"/>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Middleware</a:t>
            </a:r>
            <a:endParaRPr lang="de-DE" sz="1400" dirty="0">
              <a:solidFill>
                <a:schemeClr val="tx1"/>
              </a:solidFill>
            </a:endParaRPr>
          </a:p>
        </p:txBody>
      </p:sp>
      <p:sp>
        <p:nvSpPr>
          <p:cNvPr id="14" name="Rectangle 13">
            <a:extLst>
              <a:ext uri="{FF2B5EF4-FFF2-40B4-BE49-F238E27FC236}">
                <a16:creationId xmlns:a16="http://schemas.microsoft.com/office/drawing/2014/main" id="{B0305FD7-5553-4580-B170-C300093138F1}"/>
              </a:ext>
            </a:extLst>
          </p:cNvPr>
          <p:cNvSpPr/>
          <p:nvPr/>
        </p:nvSpPr>
        <p:spPr>
          <a:xfrm>
            <a:off x="6152765" y="3991043"/>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Operating System</a:t>
            </a:r>
            <a:endParaRPr lang="de-DE" sz="1400" dirty="0">
              <a:solidFill>
                <a:schemeClr val="tx1"/>
              </a:solidFill>
            </a:endParaRPr>
          </a:p>
        </p:txBody>
      </p:sp>
      <p:sp>
        <p:nvSpPr>
          <p:cNvPr id="15" name="Rectangle 14">
            <a:extLst>
              <a:ext uri="{FF2B5EF4-FFF2-40B4-BE49-F238E27FC236}">
                <a16:creationId xmlns:a16="http://schemas.microsoft.com/office/drawing/2014/main" id="{1A5CBFE4-02E7-4EA6-B572-89F6F71225C4}"/>
              </a:ext>
            </a:extLst>
          </p:cNvPr>
          <p:cNvSpPr/>
          <p:nvPr/>
        </p:nvSpPr>
        <p:spPr>
          <a:xfrm>
            <a:off x="6170768" y="2050727"/>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Applications</a:t>
            </a:r>
            <a:endParaRPr lang="de-DE" sz="1400" dirty="0">
              <a:solidFill>
                <a:schemeClr val="tx1"/>
              </a:solidFill>
            </a:endParaRPr>
          </a:p>
        </p:txBody>
      </p:sp>
      <p:cxnSp>
        <p:nvCxnSpPr>
          <p:cNvPr id="17" name="Straight Connector 16">
            <a:extLst>
              <a:ext uri="{FF2B5EF4-FFF2-40B4-BE49-F238E27FC236}">
                <a16:creationId xmlns:a16="http://schemas.microsoft.com/office/drawing/2014/main" id="{835D8007-231A-4C71-8D94-B0E64D4E8254}"/>
              </a:ext>
            </a:extLst>
          </p:cNvPr>
          <p:cNvCxnSpPr>
            <a:cxnSpLocks/>
          </p:cNvCxnSpPr>
          <p:nvPr/>
        </p:nvCxnSpPr>
        <p:spPr>
          <a:xfrm>
            <a:off x="2641483" y="4434921"/>
            <a:ext cx="645305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567">
            <a:extLst>
              <a:ext uri="{FF2B5EF4-FFF2-40B4-BE49-F238E27FC236}">
                <a16:creationId xmlns:a16="http://schemas.microsoft.com/office/drawing/2014/main" id="{5DC1EB12-8CB9-4896-BD85-371463F8BD37}"/>
              </a:ext>
            </a:extLst>
          </p:cNvPr>
          <p:cNvGrpSpPr/>
          <p:nvPr/>
        </p:nvGrpSpPr>
        <p:grpSpPr>
          <a:xfrm>
            <a:off x="3567071" y="5246865"/>
            <a:ext cx="485776" cy="478574"/>
            <a:chOff x="935038" y="1820863"/>
            <a:chExt cx="382588" cy="387350"/>
          </a:xfrm>
        </p:grpSpPr>
        <p:sp>
          <p:nvSpPr>
            <p:cNvPr id="19" name="Freeform 492">
              <a:extLst>
                <a:ext uri="{FF2B5EF4-FFF2-40B4-BE49-F238E27FC236}">
                  <a16:creationId xmlns:a16="http://schemas.microsoft.com/office/drawing/2014/main" id="{963F0BF4-26D1-4A82-8324-4B414811340D}"/>
                </a:ext>
              </a:extLst>
            </p:cNvPr>
            <p:cNvSpPr>
              <a:spLocks/>
            </p:cNvSpPr>
            <p:nvPr/>
          </p:nvSpPr>
          <p:spPr bwMode="auto">
            <a:xfrm>
              <a:off x="1077913" y="2065338"/>
              <a:ext cx="15875" cy="20638"/>
            </a:xfrm>
            <a:custGeom>
              <a:avLst/>
              <a:gdLst/>
              <a:ahLst/>
              <a:cxnLst>
                <a:cxn ang="0">
                  <a:pos x="1" y="6"/>
                </a:cxn>
                <a:cxn ang="0">
                  <a:pos x="3" y="1"/>
                </a:cxn>
                <a:cxn ang="0">
                  <a:pos x="8" y="5"/>
                </a:cxn>
                <a:cxn ang="0">
                  <a:pos x="5" y="10"/>
                </a:cxn>
                <a:cxn ang="0">
                  <a:pos x="1" y="6"/>
                </a:cxn>
              </a:cxnLst>
              <a:rect l="0" t="0" r="r" b="b"/>
              <a:pathLst>
                <a:path w="8" h="11">
                  <a:moveTo>
                    <a:pt x="1" y="6"/>
                  </a:moveTo>
                  <a:cubicBezTo>
                    <a:pt x="0" y="4"/>
                    <a:pt x="1" y="1"/>
                    <a:pt x="3" y="1"/>
                  </a:cubicBezTo>
                  <a:cubicBezTo>
                    <a:pt x="5" y="0"/>
                    <a:pt x="7" y="2"/>
                    <a:pt x="8" y="5"/>
                  </a:cubicBezTo>
                  <a:cubicBezTo>
                    <a:pt x="8" y="7"/>
                    <a:pt x="7" y="10"/>
                    <a:pt x="5" y="10"/>
                  </a:cubicBezTo>
                  <a:cubicBezTo>
                    <a:pt x="3" y="11"/>
                    <a:pt x="1" y="9"/>
                    <a:pt x="1" y="6"/>
                  </a:cubicBezTo>
                  <a:close/>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0" name="Freeform 493">
              <a:extLst>
                <a:ext uri="{FF2B5EF4-FFF2-40B4-BE49-F238E27FC236}">
                  <a16:creationId xmlns:a16="http://schemas.microsoft.com/office/drawing/2014/main" id="{A53AE464-7BB7-4006-B4E7-909D967F9570}"/>
                </a:ext>
              </a:extLst>
            </p:cNvPr>
            <p:cNvSpPr>
              <a:spLocks/>
            </p:cNvSpPr>
            <p:nvPr/>
          </p:nvSpPr>
          <p:spPr bwMode="auto">
            <a:xfrm>
              <a:off x="1071563" y="2058988"/>
              <a:ext cx="25400" cy="33338"/>
            </a:xfrm>
            <a:custGeom>
              <a:avLst/>
              <a:gdLst/>
              <a:ahLst/>
              <a:cxnLst>
                <a:cxn ang="0">
                  <a:pos x="13" y="13"/>
                </a:cxn>
                <a:cxn ang="0">
                  <a:pos x="13" y="13"/>
                </a:cxn>
                <a:cxn ang="0">
                  <a:pos x="9" y="16"/>
                </a:cxn>
                <a:cxn ang="0">
                  <a:pos x="1" y="10"/>
                </a:cxn>
                <a:cxn ang="0">
                  <a:pos x="5" y="1"/>
                </a:cxn>
                <a:cxn ang="0">
                  <a:pos x="13" y="7"/>
                </a:cxn>
                <a:cxn ang="0">
                  <a:pos x="13" y="10"/>
                </a:cxn>
              </a:cxnLst>
              <a:rect l="0" t="0" r="r" b="b"/>
              <a:pathLst>
                <a:path w="13" h="17">
                  <a:moveTo>
                    <a:pt x="13" y="13"/>
                  </a:moveTo>
                  <a:cubicBezTo>
                    <a:pt x="13" y="13"/>
                    <a:pt x="13" y="13"/>
                    <a:pt x="13" y="13"/>
                  </a:cubicBezTo>
                  <a:cubicBezTo>
                    <a:pt x="12" y="15"/>
                    <a:pt x="11" y="16"/>
                    <a:pt x="9" y="16"/>
                  </a:cubicBezTo>
                  <a:cubicBezTo>
                    <a:pt x="6" y="17"/>
                    <a:pt x="2" y="14"/>
                    <a:pt x="1" y="10"/>
                  </a:cubicBezTo>
                  <a:cubicBezTo>
                    <a:pt x="0" y="6"/>
                    <a:pt x="2" y="2"/>
                    <a:pt x="5" y="1"/>
                  </a:cubicBezTo>
                  <a:cubicBezTo>
                    <a:pt x="9" y="0"/>
                    <a:pt x="12" y="3"/>
                    <a:pt x="13" y="7"/>
                  </a:cubicBezTo>
                  <a:cubicBezTo>
                    <a:pt x="13" y="8"/>
                    <a:pt x="13" y="9"/>
                    <a:pt x="13" y="10"/>
                  </a:cubicBezTo>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1" name="Freeform 494">
              <a:extLst>
                <a:ext uri="{FF2B5EF4-FFF2-40B4-BE49-F238E27FC236}">
                  <a16:creationId xmlns:a16="http://schemas.microsoft.com/office/drawing/2014/main" id="{385CBF42-A9F4-4C36-8093-207BABF2CF6D}"/>
                </a:ext>
              </a:extLst>
            </p:cNvPr>
            <p:cNvSpPr>
              <a:spLocks/>
            </p:cNvSpPr>
            <p:nvPr/>
          </p:nvSpPr>
          <p:spPr bwMode="auto">
            <a:xfrm>
              <a:off x="1050926" y="1957388"/>
              <a:ext cx="79375" cy="42863"/>
            </a:xfrm>
            <a:custGeom>
              <a:avLst/>
              <a:gdLst/>
              <a:ahLst/>
              <a:cxnLst>
                <a:cxn ang="0">
                  <a:pos x="2" y="4"/>
                </a:cxn>
                <a:cxn ang="0">
                  <a:pos x="39" y="22"/>
                </a:cxn>
                <a:cxn ang="0">
                  <a:pos x="41" y="20"/>
                </a:cxn>
                <a:cxn ang="0">
                  <a:pos x="39" y="19"/>
                </a:cxn>
                <a:cxn ang="0">
                  <a:pos x="3" y="1"/>
                </a:cxn>
                <a:cxn ang="0">
                  <a:pos x="1" y="1"/>
                </a:cxn>
                <a:cxn ang="0">
                  <a:pos x="0" y="2"/>
                </a:cxn>
                <a:cxn ang="0">
                  <a:pos x="2" y="4"/>
                </a:cxn>
              </a:cxnLst>
              <a:rect l="0" t="0" r="r" b="b"/>
              <a:pathLst>
                <a:path w="41" h="22">
                  <a:moveTo>
                    <a:pt x="2" y="4"/>
                  </a:moveTo>
                  <a:cubicBezTo>
                    <a:pt x="13" y="12"/>
                    <a:pt x="25" y="19"/>
                    <a:pt x="39" y="22"/>
                  </a:cubicBezTo>
                  <a:cubicBezTo>
                    <a:pt x="40" y="22"/>
                    <a:pt x="41" y="21"/>
                    <a:pt x="41" y="20"/>
                  </a:cubicBezTo>
                  <a:cubicBezTo>
                    <a:pt x="40" y="20"/>
                    <a:pt x="40" y="19"/>
                    <a:pt x="39" y="19"/>
                  </a:cubicBezTo>
                  <a:cubicBezTo>
                    <a:pt x="26" y="16"/>
                    <a:pt x="13" y="9"/>
                    <a:pt x="3" y="1"/>
                  </a:cubicBezTo>
                  <a:cubicBezTo>
                    <a:pt x="2" y="0"/>
                    <a:pt x="1" y="0"/>
                    <a:pt x="1" y="1"/>
                  </a:cubicBezTo>
                  <a:cubicBezTo>
                    <a:pt x="1" y="1"/>
                    <a:pt x="0" y="1"/>
                    <a:pt x="0" y="2"/>
                  </a:cubicBezTo>
                  <a:cubicBezTo>
                    <a:pt x="1" y="2"/>
                    <a:pt x="1" y="3"/>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2" name="Freeform 495">
              <a:extLst>
                <a:ext uri="{FF2B5EF4-FFF2-40B4-BE49-F238E27FC236}">
                  <a16:creationId xmlns:a16="http://schemas.microsoft.com/office/drawing/2014/main" id="{8905F546-B74F-4DDB-90EC-2E47A821464C}"/>
                </a:ext>
              </a:extLst>
            </p:cNvPr>
            <p:cNvSpPr>
              <a:spLocks/>
            </p:cNvSpPr>
            <p:nvPr/>
          </p:nvSpPr>
          <p:spPr bwMode="auto">
            <a:xfrm>
              <a:off x="1050926" y="1957388"/>
              <a:ext cx="79375" cy="42863"/>
            </a:xfrm>
            <a:custGeom>
              <a:avLst/>
              <a:gdLst/>
              <a:ahLst/>
              <a:cxnLst>
                <a:cxn ang="0">
                  <a:pos x="2" y="3"/>
                </a:cxn>
                <a:cxn ang="0">
                  <a:pos x="39" y="22"/>
                </a:cxn>
                <a:cxn ang="0">
                  <a:pos x="41" y="20"/>
                </a:cxn>
                <a:cxn ang="0">
                  <a:pos x="39" y="19"/>
                </a:cxn>
                <a:cxn ang="0">
                  <a:pos x="3" y="0"/>
                </a:cxn>
                <a:cxn ang="0">
                  <a:pos x="1" y="0"/>
                </a:cxn>
                <a:cxn ang="0">
                  <a:pos x="0" y="1"/>
                </a:cxn>
                <a:cxn ang="0">
                  <a:pos x="2" y="3"/>
                </a:cxn>
              </a:cxnLst>
              <a:rect l="0" t="0" r="r" b="b"/>
              <a:pathLst>
                <a:path w="41" h="22">
                  <a:moveTo>
                    <a:pt x="2" y="3"/>
                  </a:moveTo>
                  <a:cubicBezTo>
                    <a:pt x="13" y="12"/>
                    <a:pt x="26" y="19"/>
                    <a:pt x="39" y="22"/>
                  </a:cubicBezTo>
                  <a:cubicBezTo>
                    <a:pt x="40" y="22"/>
                    <a:pt x="41" y="21"/>
                    <a:pt x="41" y="20"/>
                  </a:cubicBezTo>
                  <a:cubicBezTo>
                    <a:pt x="40" y="20"/>
                    <a:pt x="40" y="19"/>
                    <a:pt x="39" y="19"/>
                  </a:cubicBezTo>
                  <a:cubicBezTo>
                    <a:pt x="26" y="16"/>
                    <a:pt x="13" y="9"/>
                    <a:pt x="3" y="0"/>
                  </a:cubicBezTo>
                  <a:cubicBezTo>
                    <a:pt x="2" y="0"/>
                    <a:pt x="1" y="0"/>
                    <a:pt x="1" y="0"/>
                  </a:cubicBezTo>
                  <a:cubicBezTo>
                    <a:pt x="1" y="1"/>
                    <a:pt x="0" y="1"/>
                    <a:pt x="0" y="1"/>
                  </a:cubicBezTo>
                  <a:cubicBezTo>
                    <a:pt x="1" y="2"/>
                    <a:pt x="1" y="3"/>
                    <a:pt x="2" y="3"/>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3" name="Freeform 496">
              <a:extLst>
                <a:ext uri="{FF2B5EF4-FFF2-40B4-BE49-F238E27FC236}">
                  <a16:creationId xmlns:a16="http://schemas.microsoft.com/office/drawing/2014/main" id="{8F21DDC4-CF50-46AE-A290-FF125F0187E0}"/>
                </a:ext>
              </a:extLst>
            </p:cNvPr>
            <p:cNvSpPr>
              <a:spLocks/>
            </p:cNvSpPr>
            <p:nvPr/>
          </p:nvSpPr>
          <p:spPr bwMode="auto">
            <a:xfrm>
              <a:off x="1050926" y="1982788"/>
              <a:ext cx="79375" cy="61913"/>
            </a:xfrm>
            <a:custGeom>
              <a:avLst/>
              <a:gdLst/>
              <a:ahLst/>
              <a:cxnLst>
                <a:cxn ang="0">
                  <a:pos x="0" y="0"/>
                </a:cxn>
                <a:cxn ang="0">
                  <a:pos x="0" y="11"/>
                </a:cxn>
                <a:cxn ang="0">
                  <a:pos x="41" y="32"/>
                </a:cxn>
                <a:cxn ang="0">
                  <a:pos x="41" y="21"/>
                </a:cxn>
                <a:cxn ang="0">
                  <a:pos x="0" y="0"/>
                </a:cxn>
              </a:cxnLst>
              <a:rect l="0" t="0" r="r" b="b"/>
              <a:pathLst>
                <a:path w="41" h="32">
                  <a:moveTo>
                    <a:pt x="0" y="0"/>
                  </a:moveTo>
                  <a:cubicBezTo>
                    <a:pt x="0" y="11"/>
                    <a:pt x="0" y="11"/>
                    <a:pt x="0" y="11"/>
                  </a:cubicBezTo>
                  <a:cubicBezTo>
                    <a:pt x="12" y="21"/>
                    <a:pt x="26" y="28"/>
                    <a:pt x="41" y="32"/>
                  </a:cubicBezTo>
                  <a:cubicBezTo>
                    <a:pt x="41" y="21"/>
                    <a:pt x="41" y="21"/>
                    <a:pt x="41" y="21"/>
                  </a:cubicBezTo>
                  <a:cubicBezTo>
                    <a:pt x="26" y="17"/>
                    <a:pt x="12" y="10"/>
                    <a:pt x="0" y="0"/>
                  </a:cubicBezTo>
                  <a:close/>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4" name="Freeform 497">
              <a:extLst>
                <a:ext uri="{FF2B5EF4-FFF2-40B4-BE49-F238E27FC236}">
                  <a16:creationId xmlns:a16="http://schemas.microsoft.com/office/drawing/2014/main" id="{EF1624B2-FEC6-46FB-B3E3-C6F1A09D515A}"/>
                </a:ext>
              </a:extLst>
            </p:cNvPr>
            <p:cNvSpPr>
              <a:spLocks/>
            </p:cNvSpPr>
            <p:nvPr/>
          </p:nvSpPr>
          <p:spPr bwMode="auto">
            <a:xfrm>
              <a:off x="1033463" y="1820863"/>
              <a:ext cx="284163" cy="387350"/>
            </a:xfrm>
            <a:custGeom>
              <a:avLst/>
              <a:gdLst/>
              <a:ahLst/>
              <a:cxnLst>
                <a:cxn ang="0">
                  <a:pos x="59" y="200"/>
                </a:cxn>
                <a:cxn ang="0">
                  <a:pos x="0" y="172"/>
                </a:cxn>
                <a:cxn ang="0">
                  <a:pos x="0" y="173"/>
                </a:cxn>
                <a:cxn ang="0">
                  <a:pos x="0" y="49"/>
                </a:cxn>
                <a:cxn ang="0">
                  <a:pos x="0" y="50"/>
                </a:cxn>
                <a:cxn ang="0">
                  <a:pos x="92" y="0"/>
                </a:cxn>
                <a:cxn ang="0">
                  <a:pos x="92" y="0"/>
                </a:cxn>
                <a:cxn ang="0">
                  <a:pos x="147" y="31"/>
                </a:cxn>
              </a:cxnLst>
              <a:rect l="0" t="0" r="r" b="b"/>
              <a:pathLst>
                <a:path w="147" h="200">
                  <a:moveTo>
                    <a:pt x="59" y="200"/>
                  </a:moveTo>
                  <a:cubicBezTo>
                    <a:pt x="40" y="200"/>
                    <a:pt x="10" y="187"/>
                    <a:pt x="0" y="172"/>
                  </a:cubicBezTo>
                  <a:cubicBezTo>
                    <a:pt x="0" y="173"/>
                    <a:pt x="0" y="173"/>
                    <a:pt x="0" y="173"/>
                  </a:cubicBezTo>
                  <a:cubicBezTo>
                    <a:pt x="0" y="49"/>
                    <a:pt x="0" y="49"/>
                    <a:pt x="0" y="49"/>
                  </a:cubicBezTo>
                  <a:cubicBezTo>
                    <a:pt x="0" y="50"/>
                    <a:pt x="0" y="50"/>
                    <a:pt x="0" y="50"/>
                  </a:cubicBezTo>
                  <a:cubicBezTo>
                    <a:pt x="92" y="0"/>
                    <a:pt x="92" y="0"/>
                    <a:pt x="92" y="0"/>
                  </a:cubicBezTo>
                  <a:cubicBezTo>
                    <a:pt x="92" y="0"/>
                    <a:pt x="92" y="0"/>
                    <a:pt x="92" y="0"/>
                  </a:cubicBezTo>
                  <a:cubicBezTo>
                    <a:pt x="147" y="31"/>
                    <a:pt x="147" y="31"/>
                    <a:pt x="147" y="31"/>
                  </a:cubicBez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5" name="Freeform 498">
              <a:extLst>
                <a:ext uri="{FF2B5EF4-FFF2-40B4-BE49-F238E27FC236}">
                  <a16:creationId xmlns:a16="http://schemas.microsoft.com/office/drawing/2014/main" id="{E7BDB7AB-41BB-4B30-83D6-97363899FFFC}"/>
                </a:ext>
              </a:extLst>
            </p:cNvPr>
            <p:cNvSpPr>
              <a:spLocks/>
            </p:cNvSpPr>
            <p:nvPr/>
          </p:nvSpPr>
          <p:spPr bwMode="auto">
            <a:xfrm>
              <a:off x="1033463" y="1917700"/>
              <a:ext cx="112713" cy="55563"/>
            </a:xfrm>
            <a:custGeom>
              <a:avLst/>
              <a:gdLst/>
              <a:ahLst/>
              <a:cxnLst>
                <a:cxn ang="0">
                  <a:pos x="0" y="0"/>
                </a:cxn>
                <a:cxn ang="0">
                  <a:pos x="58" y="29"/>
                </a:cxn>
              </a:cxnLst>
              <a:rect l="0" t="0" r="r" b="b"/>
              <a:pathLst>
                <a:path w="58" h="29">
                  <a:moveTo>
                    <a:pt x="0" y="0"/>
                  </a:moveTo>
                  <a:cubicBezTo>
                    <a:pt x="10" y="15"/>
                    <a:pt x="40" y="29"/>
                    <a:pt x="58" y="29"/>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6" name="Freeform 499">
              <a:extLst>
                <a:ext uri="{FF2B5EF4-FFF2-40B4-BE49-F238E27FC236}">
                  <a16:creationId xmlns:a16="http://schemas.microsoft.com/office/drawing/2014/main" id="{69E5E238-A4ED-4239-9A90-BC7762A81E40}"/>
                </a:ext>
              </a:extLst>
            </p:cNvPr>
            <p:cNvSpPr>
              <a:spLocks/>
            </p:cNvSpPr>
            <p:nvPr/>
          </p:nvSpPr>
          <p:spPr bwMode="auto">
            <a:xfrm>
              <a:off x="1046163" y="2136775"/>
              <a:ext cx="85725" cy="42863"/>
            </a:xfrm>
            <a:custGeom>
              <a:avLst/>
              <a:gdLst/>
              <a:ahLst/>
              <a:cxnLst>
                <a:cxn ang="0">
                  <a:pos x="2" y="4"/>
                </a:cxn>
                <a:cxn ang="0">
                  <a:pos x="43" y="22"/>
                </a:cxn>
                <a:cxn ang="0">
                  <a:pos x="44" y="19"/>
                </a:cxn>
                <a:cxn ang="0">
                  <a:pos x="42" y="18"/>
                </a:cxn>
                <a:cxn ang="0">
                  <a:pos x="2" y="0"/>
                </a:cxn>
                <a:cxn ang="0">
                  <a:pos x="0" y="0"/>
                </a:cxn>
                <a:cxn ang="0">
                  <a:pos x="0" y="1"/>
                </a:cxn>
                <a:cxn ang="0">
                  <a:pos x="2" y="4"/>
                </a:cxn>
              </a:cxnLst>
              <a:rect l="0" t="0" r="r" b="b"/>
              <a:pathLst>
                <a:path w="44" h="22">
                  <a:moveTo>
                    <a:pt x="2" y="4"/>
                  </a:moveTo>
                  <a:cubicBezTo>
                    <a:pt x="14" y="13"/>
                    <a:pt x="28" y="19"/>
                    <a:pt x="43" y="22"/>
                  </a:cubicBezTo>
                  <a:cubicBezTo>
                    <a:pt x="44" y="22"/>
                    <a:pt x="44" y="20"/>
                    <a:pt x="44" y="19"/>
                  </a:cubicBezTo>
                  <a:cubicBezTo>
                    <a:pt x="44" y="18"/>
                    <a:pt x="43" y="18"/>
                    <a:pt x="42" y="18"/>
                  </a:cubicBezTo>
                  <a:cubicBezTo>
                    <a:pt x="28" y="15"/>
                    <a:pt x="14" y="9"/>
                    <a:pt x="2" y="0"/>
                  </a:cubicBezTo>
                  <a:cubicBezTo>
                    <a:pt x="2" y="0"/>
                    <a:pt x="1" y="0"/>
                    <a:pt x="0" y="0"/>
                  </a:cubicBezTo>
                  <a:cubicBezTo>
                    <a:pt x="0" y="1"/>
                    <a:pt x="0" y="1"/>
                    <a:pt x="0" y="1"/>
                  </a:cubicBezTo>
                  <a:cubicBezTo>
                    <a:pt x="0" y="2"/>
                    <a:pt x="1" y="3"/>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7" name="Freeform 500">
              <a:extLst>
                <a:ext uri="{FF2B5EF4-FFF2-40B4-BE49-F238E27FC236}">
                  <a16:creationId xmlns:a16="http://schemas.microsoft.com/office/drawing/2014/main" id="{4B071E80-2524-41B4-A292-6B8A3EDD9159}"/>
                </a:ext>
              </a:extLst>
            </p:cNvPr>
            <p:cNvSpPr>
              <a:spLocks/>
            </p:cNvSpPr>
            <p:nvPr/>
          </p:nvSpPr>
          <p:spPr bwMode="auto">
            <a:xfrm>
              <a:off x="1046163" y="2124075"/>
              <a:ext cx="85725" cy="42863"/>
            </a:xfrm>
            <a:custGeom>
              <a:avLst/>
              <a:gdLst/>
              <a:ahLst/>
              <a:cxnLst>
                <a:cxn ang="0">
                  <a:pos x="2" y="4"/>
                </a:cxn>
                <a:cxn ang="0">
                  <a:pos x="43" y="22"/>
                </a:cxn>
                <a:cxn ang="0">
                  <a:pos x="44" y="19"/>
                </a:cxn>
                <a:cxn ang="0">
                  <a:pos x="42" y="18"/>
                </a:cxn>
                <a:cxn ang="0">
                  <a:pos x="2" y="0"/>
                </a:cxn>
                <a:cxn ang="0">
                  <a:pos x="0" y="0"/>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8"/>
                    <a:pt x="42" y="18"/>
                  </a:cubicBezTo>
                  <a:cubicBezTo>
                    <a:pt x="28" y="16"/>
                    <a:pt x="14" y="10"/>
                    <a:pt x="2" y="0"/>
                  </a:cubicBezTo>
                  <a:cubicBezTo>
                    <a:pt x="2" y="0"/>
                    <a:pt x="1" y="0"/>
                    <a:pt x="0" y="0"/>
                  </a:cubicBezTo>
                  <a:cubicBezTo>
                    <a:pt x="0" y="1"/>
                    <a:pt x="0" y="1"/>
                    <a:pt x="0" y="2"/>
                  </a:cubicBezTo>
                  <a:cubicBezTo>
                    <a:pt x="0" y="3"/>
                    <a:pt x="1" y="4"/>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8" name="Freeform 501">
              <a:extLst>
                <a:ext uri="{FF2B5EF4-FFF2-40B4-BE49-F238E27FC236}">
                  <a16:creationId xmlns:a16="http://schemas.microsoft.com/office/drawing/2014/main" id="{6550518A-1A8E-43BB-902E-B869B5DC559C}"/>
                </a:ext>
              </a:extLst>
            </p:cNvPr>
            <p:cNvSpPr>
              <a:spLocks/>
            </p:cNvSpPr>
            <p:nvPr/>
          </p:nvSpPr>
          <p:spPr bwMode="auto">
            <a:xfrm>
              <a:off x="1046163" y="2112963"/>
              <a:ext cx="85725" cy="42863"/>
            </a:xfrm>
            <a:custGeom>
              <a:avLst/>
              <a:gdLst/>
              <a:ahLst/>
              <a:cxnLst>
                <a:cxn ang="0">
                  <a:pos x="2" y="4"/>
                </a:cxn>
                <a:cxn ang="0">
                  <a:pos x="43" y="22"/>
                </a:cxn>
                <a:cxn ang="0">
                  <a:pos x="44" y="19"/>
                </a:cxn>
                <a:cxn ang="0">
                  <a:pos x="42" y="18"/>
                </a:cxn>
                <a:cxn ang="0">
                  <a:pos x="2" y="0"/>
                </a:cxn>
                <a:cxn ang="0">
                  <a:pos x="0" y="1"/>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9"/>
                    <a:pt x="42" y="18"/>
                  </a:cubicBezTo>
                  <a:cubicBezTo>
                    <a:pt x="28" y="16"/>
                    <a:pt x="14" y="10"/>
                    <a:pt x="2" y="0"/>
                  </a:cubicBezTo>
                  <a:cubicBezTo>
                    <a:pt x="2" y="0"/>
                    <a:pt x="1" y="0"/>
                    <a:pt x="0" y="1"/>
                  </a:cubicBezTo>
                  <a:cubicBezTo>
                    <a:pt x="0" y="1"/>
                    <a:pt x="0" y="2"/>
                    <a:pt x="0" y="2"/>
                  </a:cubicBezTo>
                  <a:cubicBezTo>
                    <a:pt x="0" y="3"/>
                    <a:pt x="1" y="4"/>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29" name="Freeform 502">
              <a:extLst>
                <a:ext uri="{FF2B5EF4-FFF2-40B4-BE49-F238E27FC236}">
                  <a16:creationId xmlns:a16="http://schemas.microsoft.com/office/drawing/2014/main" id="{E66601B4-DD9F-4362-BDF9-8AAE0FDA883E}"/>
                </a:ext>
              </a:extLst>
            </p:cNvPr>
            <p:cNvSpPr>
              <a:spLocks/>
            </p:cNvSpPr>
            <p:nvPr/>
          </p:nvSpPr>
          <p:spPr bwMode="auto">
            <a:xfrm>
              <a:off x="1146176" y="1881188"/>
              <a:ext cx="171450" cy="325438"/>
            </a:xfrm>
            <a:custGeom>
              <a:avLst/>
              <a:gdLst/>
              <a:ahLst/>
              <a:cxnLst>
                <a:cxn ang="0">
                  <a:pos x="69" y="168"/>
                </a:cxn>
                <a:cxn ang="0">
                  <a:pos x="1" y="205"/>
                </a:cxn>
                <a:cxn ang="0">
                  <a:pos x="1" y="205"/>
                </a:cxn>
                <a:cxn ang="0">
                  <a:pos x="1" y="58"/>
                </a:cxn>
                <a:cxn ang="0">
                  <a:pos x="0" y="58"/>
                </a:cxn>
                <a:cxn ang="0">
                  <a:pos x="108" y="0"/>
                </a:cxn>
                <a:cxn ang="0">
                  <a:pos x="108" y="146"/>
                </a:cxn>
                <a:cxn ang="0">
                  <a:pos x="89" y="158"/>
                </a:cxn>
              </a:cxnLst>
              <a:rect l="0" t="0" r="r" b="b"/>
              <a:pathLst>
                <a:path w="108" h="205">
                  <a:moveTo>
                    <a:pt x="69" y="168"/>
                  </a:moveTo>
                  <a:lnTo>
                    <a:pt x="1" y="205"/>
                  </a:lnTo>
                  <a:lnTo>
                    <a:pt x="1" y="205"/>
                  </a:lnTo>
                  <a:lnTo>
                    <a:pt x="1" y="58"/>
                  </a:lnTo>
                  <a:lnTo>
                    <a:pt x="0" y="58"/>
                  </a:lnTo>
                  <a:lnTo>
                    <a:pt x="108" y="0"/>
                  </a:lnTo>
                  <a:lnTo>
                    <a:pt x="108" y="146"/>
                  </a:lnTo>
                  <a:lnTo>
                    <a:pt x="89" y="158"/>
                  </a:ln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0" name="Freeform 503">
              <a:extLst>
                <a:ext uri="{FF2B5EF4-FFF2-40B4-BE49-F238E27FC236}">
                  <a16:creationId xmlns:a16="http://schemas.microsoft.com/office/drawing/2014/main" id="{738A3CF3-B6C2-45D5-94A8-65750BF3506F}"/>
                </a:ext>
              </a:extLst>
            </p:cNvPr>
            <p:cNvSpPr>
              <a:spLocks/>
            </p:cNvSpPr>
            <p:nvPr/>
          </p:nvSpPr>
          <p:spPr bwMode="auto">
            <a:xfrm>
              <a:off x="957263" y="2060575"/>
              <a:ext cx="9525" cy="11113"/>
            </a:xfrm>
            <a:custGeom>
              <a:avLst/>
              <a:gdLst/>
              <a:ahLst/>
              <a:cxnLst>
                <a:cxn ang="0">
                  <a:pos x="1" y="3"/>
                </a:cxn>
                <a:cxn ang="0">
                  <a:pos x="2" y="0"/>
                </a:cxn>
                <a:cxn ang="0">
                  <a:pos x="5" y="2"/>
                </a:cxn>
                <a:cxn ang="0">
                  <a:pos x="3" y="5"/>
                </a:cxn>
                <a:cxn ang="0">
                  <a:pos x="1" y="3"/>
                </a:cxn>
              </a:cxnLst>
              <a:rect l="0" t="0" r="r" b="b"/>
              <a:pathLst>
                <a:path w="5" h="6">
                  <a:moveTo>
                    <a:pt x="1" y="3"/>
                  </a:moveTo>
                  <a:cubicBezTo>
                    <a:pt x="0" y="2"/>
                    <a:pt x="1" y="1"/>
                    <a:pt x="2" y="0"/>
                  </a:cubicBezTo>
                  <a:cubicBezTo>
                    <a:pt x="3" y="0"/>
                    <a:pt x="5" y="1"/>
                    <a:pt x="5" y="2"/>
                  </a:cubicBezTo>
                  <a:cubicBezTo>
                    <a:pt x="5" y="4"/>
                    <a:pt x="5" y="5"/>
                    <a:pt x="3" y="5"/>
                  </a:cubicBezTo>
                  <a:cubicBezTo>
                    <a:pt x="2" y="6"/>
                    <a:pt x="1" y="5"/>
                    <a:pt x="1" y="3"/>
                  </a:cubicBezTo>
                  <a:close/>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1" name="Freeform 504">
              <a:extLst>
                <a:ext uri="{FF2B5EF4-FFF2-40B4-BE49-F238E27FC236}">
                  <a16:creationId xmlns:a16="http://schemas.microsoft.com/office/drawing/2014/main" id="{6425F42D-A054-45AB-8021-83DBD0BB731D}"/>
                </a:ext>
              </a:extLst>
            </p:cNvPr>
            <p:cNvSpPr>
              <a:spLocks/>
            </p:cNvSpPr>
            <p:nvPr/>
          </p:nvSpPr>
          <p:spPr bwMode="auto">
            <a:xfrm>
              <a:off x="955676" y="2057400"/>
              <a:ext cx="14288" cy="19050"/>
            </a:xfrm>
            <a:custGeom>
              <a:avLst/>
              <a:gdLst/>
              <a:ahLst/>
              <a:cxnLst>
                <a:cxn ang="0">
                  <a:pos x="7" y="7"/>
                </a:cxn>
                <a:cxn ang="0">
                  <a:pos x="7" y="7"/>
                </a:cxn>
                <a:cxn ang="0">
                  <a:pos x="5" y="9"/>
                </a:cxn>
                <a:cxn ang="0">
                  <a:pos x="0" y="6"/>
                </a:cxn>
                <a:cxn ang="0">
                  <a:pos x="3" y="1"/>
                </a:cxn>
                <a:cxn ang="0">
                  <a:pos x="7" y="4"/>
                </a:cxn>
                <a:cxn ang="0">
                  <a:pos x="7" y="6"/>
                </a:cxn>
              </a:cxnLst>
              <a:rect l="0" t="0" r="r" b="b"/>
              <a:pathLst>
                <a:path w="7" h="10">
                  <a:moveTo>
                    <a:pt x="7" y="7"/>
                  </a:moveTo>
                  <a:cubicBezTo>
                    <a:pt x="7" y="7"/>
                    <a:pt x="7" y="7"/>
                    <a:pt x="7" y="7"/>
                  </a:cubicBezTo>
                  <a:cubicBezTo>
                    <a:pt x="6" y="8"/>
                    <a:pt x="6" y="9"/>
                    <a:pt x="5" y="9"/>
                  </a:cubicBezTo>
                  <a:cubicBezTo>
                    <a:pt x="3" y="10"/>
                    <a:pt x="1" y="8"/>
                    <a:pt x="0" y="6"/>
                  </a:cubicBezTo>
                  <a:cubicBezTo>
                    <a:pt x="0" y="3"/>
                    <a:pt x="1" y="1"/>
                    <a:pt x="3" y="1"/>
                  </a:cubicBezTo>
                  <a:cubicBezTo>
                    <a:pt x="5" y="0"/>
                    <a:pt x="7" y="2"/>
                    <a:pt x="7" y="4"/>
                  </a:cubicBezTo>
                  <a:cubicBezTo>
                    <a:pt x="7" y="5"/>
                    <a:pt x="7" y="5"/>
                    <a:pt x="7" y="6"/>
                  </a:cubicBezTo>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2" name="Freeform 505">
              <a:extLst>
                <a:ext uri="{FF2B5EF4-FFF2-40B4-BE49-F238E27FC236}">
                  <a16:creationId xmlns:a16="http://schemas.microsoft.com/office/drawing/2014/main" id="{6C5DDE09-03DF-4CCC-B8C9-0C91AF59AD88}"/>
                </a:ext>
              </a:extLst>
            </p:cNvPr>
            <p:cNvSpPr>
              <a:spLocks/>
            </p:cNvSpPr>
            <p:nvPr/>
          </p:nvSpPr>
          <p:spPr bwMode="auto">
            <a:xfrm>
              <a:off x="944563" y="2000250"/>
              <a:ext cx="42863" cy="25400"/>
            </a:xfrm>
            <a:custGeom>
              <a:avLst/>
              <a:gdLst/>
              <a:ahLst/>
              <a:cxnLst>
                <a:cxn ang="0">
                  <a:pos x="1" y="2"/>
                </a:cxn>
                <a:cxn ang="0">
                  <a:pos x="21" y="13"/>
                </a:cxn>
                <a:cxn ang="0">
                  <a:pos x="22" y="11"/>
                </a:cxn>
                <a:cxn ang="0">
                  <a:pos x="21" y="11"/>
                </a:cxn>
                <a:cxn ang="0">
                  <a:pos x="1" y="0"/>
                </a:cxn>
                <a:cxn ang="0">
                  <a:pos x="0" y="0"/>
                </a:cxn>
                <a:cxn ang="0">
                  <a:pos x="0" y="1"/>
                </a:cxn>
                <a:cxn ang="0">
                  <a:pos x="1" y="2"/>
                </a:cxn>
              </a:cxnLst>
              <a:rect l="0" t="0" r="r" b="b"/>
              <a:pathLst>
                <a:path w="22" h="13">
                  <a:moveTo>
                    <a:pt x="1" y="2"/>
                  </a:moveTo>
                  <a:cubicBezTo>
                    <a:pt x="7" y="7"/>
                    <a:pt x="14" y="11"/>
                    <a:pt x="21" y="13"/>
                  </a:cubicBezTo>
                  <a:cubicBezTo>
                    <a:pt x="22" y="13"/>
                    <a:pt x="22" y="12"/>
                    <a:pt x="22" y="11"/>
                  </a:cubicBezTo>
                  <a:cubicBezTo>
                    <a:pt x="22" y="11"/>
                    <a:pt x="22" y="11"/>
                    <a:pt x="21" y="11"/>
                  </a:cubicBezTo>
                  <a:cubicBezTo>
                    <a:pt x="14" y="9"/>
                    <a:pt x="7" y="5"/>
                    <a:pt x="1" y="0"/>
                  </a:cubicBezTo>
                  <a:cubicBezTo>
                    <a:pt x="1" y="0"/>
                    <a:pt x="0" y="0"/>
                    <a:pt x="0" y="0"/>
                  </a:cubicBezTo>
                  <a:cubicBezTo>
                    <a:pt x="0" y="0"/>
                    <a:pt x="0" y="1"/>
                    <a:pt x="0" y="1"/>
                  </a:cubicBezTo>
                  <a:cubicBezTo>
                    <a:pt x="0" y="1"/>
                    <a:pt x="0" y="2"/>
                    <a:pt x="1"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3" name="Freeform 506">
              <a:extLst>
                <a:ext uri="{FF2B5EF4-FFF2-40B4-BE49-F238E27FC236}">
                  <a16:creationId xmlns:a16="http://schemas.microsoft.com/office/drawing/2014/main" id="{0A7050E2-CBA3-4334-844C-41D6CCD73F8B}"/>
                </a:ext>
              </a:extLst>
            </p:cNvPr>
            <p:cNvSpPr>
              <a:spLocks/>
            </p:cNvSpPr>
            <p:nvPr/>
          </p:nvSpPr>
          <p:spPr bwMode="auto">
            <a:xfrm>
              <a:off x="944563" y="2000250"/>
              <a:ext cx="42863" cy="25400"/>
            </a:xfrm>
            <a:custGeom>
              <a:avLst/>
              <a:gdLst/>
              <a:ahLst/>
              <a:cxnLst>
                <a:cxn ang="0">
                  <a:pos x="1" y="2"/>
                </a:cxn>
                <a:cxn ang="0">
                  <a:pos x="21" y="13"/>
                </a:cxn>
                <a:cxn ang="0">
                  <a:pos x="22" y="11"/>
                </a:cxn>
                <a:cxn ang="0">
                  <a:pos x="21" y="11"/>
                </a:cxn>
                <a:cxn ang="0">
                  <a:pos x="1" y="0"/>
                </a:cxn>
                <a:cxn ang="0">
                  <a:pos x="0" y="0"/>
                </a:cxn>
                <a:cxn ang="0">
                  <a:pos x="0" y="1"/>
                </a:cxn>
                <a:cxn ang="0">
                  <a:pos x="1" y="2"/>
                </a:cxn>
              </a:cxnLst>
              <a:rect l="0" t="0" r="r" b="b"/>
              <a:pathLst>
                <a:path w="22" h="13">
                  <a:moveTo>
                    <a:pt x="1" y="2"/>
                  </a:moveTo>
                  <a:cubicBezTo>
                    <a:pt x="7" y="7"/>
                    <a:pt x="14" y="11"/>
                    <a:pt x="21" y="13"/>
                  </a:cubicBezTo>
                  <a:cubicBezTo>
                    <a:pt x="22" y="13"/>
                    <a:pt x="22" y="12"/>
                    <a:pt x="22" y="11"/>
                  </a:cubicBezTo>
                  <a:cubicBezTo>
                    <a:pt x="22" y="11"/>
                    <a:pt x="22" y="11"/>
                    <a:pt x="21" y="11"/>
                  </a:cubicBezTo>
                  <a:cubicBezTo>
                    <a:pt x="14" y="9"/>
                    <a:pt x="7" y="5"/>
                    <a:pt x="1" y="0"/>
                  </a:cubicBezTo>
                  <a:cubicBezTo>
                    <a:pt x="1" y="0"/>
                    <a:pt x="0" y="0"/>
                    <a:pt x="0" y="0"/>
                  </a:cubicBezTo>
                  <a:cubicBezTo>
                    <a:pt x="0" y="0"/>
                    <a:pt x="0" y="1"/>
                    <a:pt x="0" y="1"/>
                  </a:cubicBezTo>
                  <a:cubicBezTo>
                    <a:pt x="0" y="1"/>
                    <a:pt x="0" y="2"/>
                    <a:pt x="1"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4" name="Freeform 507">
              <a:extLst>
                <a:ext uri="{FF2B5EF4-FFF2-40B4-BE49-F238E27FC236}">
                  <a16:creationId xmlns:a16="http://schemas.microsoft.com/office/drawing/2014/main" id="{0E783BF7-B0C8-453A-87B8-2F7869C9E29B}"/>
                </a:ext>
              </a:extLst>
            </p:cNvPr>
            <p:cNvSpPr>
              <a:spLocks/>
            </p:cNvSpPr>
            <p:nvPr/>
          </p:nvSpPr>
          <p:spPr bwMode="auto">
            <a:xfrm>
              <a:off x="944563" y="2016125"/>
              <a:ext cx="42863" cy="33338"/>
            </a:xfrm>
            <a:custGeom>
              <a:avLst/>
              <a:gdLst/>
              <a:ahLst/>
              <a:cxnLst>
                <a:cxn ang="0">
                  <a:pos x="0" y="0"/>
                </a:cxn>
                <a:cxn ang="0">
                  <a:pos x="0" y="5"/>
                </a:cxn>
                <a:cxn ang="0">
                  <a:pos x="22" y="17"/>
                </a:cxn>
                <a:cxn ang="0">
                  <a:pos x="22" y="11"/>
                </a:cxn>
                <a:cxn ang="0">
                  <a:pos x="0" y="0"/>
                </a:cxn>
              </a:cxnLst>
              <a:rect l="0" t="0" r="r" b="b"/>
              <a:pathLst>
                <a:path w="22" h="17">
                  <a:moveTo>
                    <a:pt x="0" y="0"/>
                  </a:moveTo>
                  <a:cubicBezTo>
                    <a:pt x="0" y="5"/>
                    <a:pt x="0" y="5"/>
                    <a:pt x="0" y="5"/>
                  </a:cubicBezTo>
                  <a:cubicBezTo>
                    <a:pt x="6" y="11"/>
                    <a:pt x="14" y="15"/>
                    <a:pt x="22" y="17"/>
                  </a:cubicBezTo>
                  <a:cubicBezTo>
                    <a:pt x="22" y="11"/>
                    <a:pt x="22" y="11"/>
                    <a:pt x="22" y="11"/>
                  </a:cubicBezTo>
                  <a:cubicBezTo>
                    <a:pt x="14" y="9"/>
                    <a:pt x="6" y="5"/>
                    <a:pt x="0" y="0"/>
                  </a:cubicBezTo>
                  <a:close/>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5" name="Freeform 508">
              <a:extLst>
                <a:ext uri="{FF2B5EF4-FFF2-40B4-BE49-F238E27FC236}">
                  <a16:creationId xmlns:a16="http://schemas.microsoft.com/office/drawing/2014/main" id="{78E35E5F-6ED6-4262-9764-3ABA81BB4E36}"/>
                </a:ext>
              </a:extLst>
            </p:cNvPr>
            <p:cNvSpPr>
              <a:spLocks/>
            </p:cNvSpPr>
            <p:nvPr/>
          </p:nvSpPr>
          <p:spPr bwMode="auto">
            <a:xfrm>
              <a:off x="935038" y="1922463"/>
              <a:ext cx="98425" cy="217488"/>
            </a:xfrm>
            <a:custGeom>
              <a:avLst/>
              <a:gdLst/>
              <a:ahLst/>
              <a:cxnLst>
                <a:cxn ang="0">
                  <a:pos x="32" y="112"/>
                </a:cxn>
                <a:cxn ang="0">
                  <a:pos x="0" y="97"/>
                </a:cxn>
                <a:cxn ang="0">
                  <a:pos x="0" y="97"/>
                </a:cxn>
                <a:cxn ang="0">
                  <a:pos x="0" y="28"/>
                </a:cxn>
                <a:cxn ang="0">
                  <a:pos x="0" y="28"/>
                </a:cxn>
                <a:cxn ang="0">
                  <a:pos x="51" y="0"/>
                </a:cxn>
                <a:cxn ang="0">
                  <a:pos x="51" y="0"/>
                </a:cxn>
              </a:cxnLst>
              <a:rect l="0" t="0" r="r" b="b"/>
              <a:pathLst>
                <a:path w="51" h="112">
                  <a:moveTo>
                    <a:pt x="32" y="112"/>
                  </a:moveTo>
                  <a:cubicBezTo>
                    <a:pt x="22" y="112"/>
                    <a:pt x="5" y="105"/>
                    <a:pt x="0" y="97"/>
                  </a:cubicBezTo>
                  <a:cubicBezTo>
                    <a:pt x="0" y="97"/>
                    <a:pt x="0" y="97"/>
                    <a:pt x="0" y="97"/>
                  </a:cubicBezTo>
                  <a:cubicBezTo>
                    <a:pt x="0" y="28"/>
                    <a:pt x="0" y="28"/>
                    <a:pt x="0" y="28"/>
                  </a:cubicBezTo>
                  <a:cubicBezTo>
                    <a:pt x="0" y="28"/>
                    <a:pt x="0" y="28"/>
                    <a:pt x="0" y="28"/>
                  </a:cubicBezTo>
                  <a:cubicBezTo>
                    <a:pt x="51" y="0"/>
                    <a:pt x="51" y="0"/>
                    <a:pt x="51" y="0"/>
                  </a:cubicBezTo>
                  <a:cubicBezTo>
                    <a:pt x="51" y="0"/>
                    <a:pt x="51" y="0"/>
                    <a:pt x="51" y="0"/>
                  </a:cubicBez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6" name="Freeform 509">
              <a:extLst>
                <a:ext uri="{FF2B5EF4-FFF2-40B4-BE49-F238E27FC236}">
                  <a16:creationId xmlns:a16="http://schemas.microsoft.com/office/drawing/2014/main" id="{09D30246-7AB9-48B4-83FC-E3A80CD0465E}"/>
                </a:ext>
              </a:extLst>
            </p:cNvPr>
            <p:cNvSpPr>
              <a:spLocks/>
            </p:cNvSpPr>
            <p:nvPr/>
          </p:nvSpPr>
          <p:spPr bwMode="auto">
            <a:xfrm>
              <a:off x="935038" y="1978025"/>
              <a:ext cx="61913" cy="31750"/>
            </a:xfrm>
            <a:custGeom>
              <a:avLst/>
              <a:gdLst/>
              <a:ahLst/>
              <a:cxnLst>
                <a:cxn ang="0">
                  <a:pos x="0" y="0"/>
                </a:cxn>
                <a:cxn ang="0">
                  <a:pos x="32" y="17"/>
                </a:cxn>
              </a:cxnLst>
              <a:rect l="0" t="0" r="r" b="b"/>
              <a:pathLst>
                <a:path w="32" h="17">
                  <a:moveTo>
                    <a:pt x="0" y="0"/>
                  </a:moveTo>
                  <a:cubicBezTo>
                    <a:pt x="5" y="9"/>
                    <a:pt x="22" y="17"/>
                    <a:pt x="32" y="17"/>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7" name="Freeform 510">
              <a:extLst>
                <a:ext uri="{FF2B5EF4-FFF2-40B4-BE49-F238E27FC236}">
                  <a16:creationId xmlns:a16="http://schemas.microsoft.com/office/drawing/2014/main" id="{F9C5CE21-69B5-4E63-962F-9C6E7F465B3E}"/>
                </a:ext>
              </a:extLst>
            </p:cNvPr>
            <p:cNvSpPr>
              <a:spLocks/>
            </p:cNvSpPr>
            <p:nvPr/>
          </p:nvSpPr>
          <p:spPr bwMode="auto">
            <a:xfrm>
              <a:off x="942976" y="2098675"/>
              <a:ext cx="46038" cy="25400"/>
            </a:xfrm>
            <a:custGeom>
              <a:avLst/>
              <a:gdLst/>
              <a:ahLst/>
              <a:cxnLst>
                <a:cxn ang="0">
                  <a:pos x="0" y="3"/>
                </a:cxn>
                <a:cxn ang="0">
                  <a:pos x="23" y="13"/>
                </a:cxn>
                <a:cxn ang="0">
                  <a:pos x="24" y="11"/>
                </a:cxn>
                <a:cxn ang="0">
                  <a:pos x="23" y="11"/>
                </a:cxn>
                <a:cxn ang="0">
                  <a:pos x="1" y="0"/>
                </a:cxn>
                <a:cxn ang="0">
                  <a:pos x="0" y="1"/>
                </a:cxn>
                <a:cxn ang="0">
                  <a:pos x="0" y="1"/>
                </a:cxn>
                <a:cxn ang="0">
                  <a:pos x="0" y="3"/>
                </a:cxn>
              </a:cxnLst>
              <a:rect l="0" t="0" r="r" b="b"/>
              <a:pathLst>
                <a:path w="24" h="13">
                  <a:moveTo>
                    <a:pt x="0" y="3"/>
                  </a:moveTo>
                  <a:cubicBezTo>
                    <a:pt x="7" y="8"/>
                    <a:pt x="15" y="11"/>
                    <a:pt x="23" y="13"/>
                  </a:cubicBezTo>
                  <a:cubicBezTo>
                    <a:pt x="24" y="13"/>
                    <a:pt x="24" y="12"/>
                    <a:pt x="24" y="11"/>
                  </a:cubicBezTo>
                  <a:cubicBezTo>
                    <a:pt x="24" y="11"/>
                    <a:pt x="24" y="11"/>
                    <a:pt x="23" y="11"/>
                  </a:cubicBezTo>
                  <a:cubicBezTo>
                    <a:pt x="15" y="9"/>
                    <a:pt x="7" y="6"/>
                    <a:pt x="1" y="0"/>
                  </a:cubicBezTo>
                  <a:cubicBezTo>
                    <a:pt x="0" y="0"/>
                    <a:pt x="0" y="0"/>
                    <a:pt x="0" y="1"/>
                  </a:cubicBezTo>
                  <a:cubicBezTo>
                    <a:pt x="0" y="1"/>
                    <a:pt x="0" y="1"/>
                    <a:pt x="0" y="1"/>
                  </a:cubicBezTo>
                  <a:cubicBezTo>
                    <a:pt x="0" y="2"/>
                    <a:pt x="0" y="2"/>
                    <a:pt x="0" y="3"/>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8" name="Freeform 511">
              <a:extLst>
                <a:ext uri="{FF2B5EF4-FFF2-40B4-BE49-F238E27FC236}">
                  <a16:creationId xmlns:a16="http://schemas.microsoft.com/office/drawing/2014/main" id="{BEB4A9F4-350D-41EA-8565-8DBF6CDF71C0}"/>
                </a:ext>
              </a:extLst>
            </p:cNvPr>
            <p:cNvSpPr>
              <a:spLocks/>
            </p:cNvSpPr>
            <p:nvPr/>
          </p:nvSpPr>
          <p:spPr bwMode="auto">
            <a:xfrm>
              <a:off x="942976" y="2093913"/>
              <a:ext cx="46038" cy="25400"/>
            </a:xfrm>
            <a:custGeom>
              <a:avLst/>
              <a:gdLst/>
              <a:ahLst/>
              <a:cxnLst>
                <a:cxn ang="0">
                  <a:pos x="0" y="2"/>
                </a:cxn>
                <a:cxn ang="0">
                  <a:pos x="23" y="13"/>
                </a:cxn>
                <a:cxn ang="0">
                  <a:pos x="24" y="11"/>
                </a:cxn>
                <a:cxn ang="0">
                  <a:pos x="23" y="10"/>
                </a:cxn>
                <a:cxn ang="0">
                  <a:pos x="1" y="0"/>
                </a:cxn>
                <a:cxn ang="0">
                  <a:pos x="0" y="0"/>
                </a:cxn>
                <a:cxn ang="0">
                  <a:pos x="0" y="1"/>
                </a:cxn>
                <a:cxn ang="0">
                  <a:pos x="0" y="2"/>
                </a:cxn>
              </a:cxnLst>
              <a:rect l="0" t="0" r="r" b="b"/>
              <a:pathLst>
                <a:path w="24" h="13">
                  <a:moveTo>
                    <a:pt x="0" y="2"/>
                  </a:moveTo>
                  <a:cubicBezTo>
                    <a:pt x="7" y="8"/>
                    <a:pt x="15" y="11"/>
                    <a:pt x="23" y="13"/>
                  </a:cubicBezTo>
                  <a:cubicBezTo>
                    <a:pt x="24" y="13"/>
                    <a:pt x="24" y="12"/>
                    <a:pt x="24" y="11"/>
                  </a:cubicBezTo>
                  <a:cubicBezTo>
                    <a:pt x="24" y="11"/>
                    <a:pt x="24" y="10"/>
                    <a:pt x="23" y="10"/>
                  </a:cubicBezTo>
                  <a:cubicBezTo>
                    <a:pt x="15" y="9"/>
                    <a:pt x="7" y="6"/>
                    <a:pt x="1" y="0"/>
                  </a:cubicBezTo>
                  <a:cubicBezTo>
                    <a:pt x="0" y="0"/>
                    <a:pt x="0" y="0"/>
                    <a:pt x="0" y="0"/>
                  </a:cubicBezTo>
                  <a:cubicBezTo>
                    <a:pt x="0" y="1"/>
                    <a:pt x="0" y="1"/>
                    <a:pt x="0" y="1"/>
                  </a:cubicBezTo>
                  <a:cubicBezTo>
                    <a:pt x="0" y="2"/>
                    <a:pt x="0" y="2"/>
                    <a:pt x="0"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9" name="Freeform 512">
              <a:extLst>
                <a:ext uri="{FF2B5EF4-FFF2-40B4-BE49-F238E27FC236}">
                  <a16:creationId xmlns:a16="http://schemas.microsoft.com/office/drawing/2014/main" id="{A7A5570C-1023-4FE2-8354-CE8E6A61C274}"/>
                </a:ext>
              </a:extLst>
            </p:cNvPr>
            <p:cNvSpPr>
              <a:spLocks/>
            </p:cNvSpPr>
            <p:nvPr/>
          </p:nvSpPr>
          <p:spPr bwMode="auto">
            <a:xfrm>
              <a:off x="942976" y="2087563"/>
              <a:ext cx="46038" cy="23813"/>
            </a:xfrm>
            <a:custGeom>
              <a:avLst/>
              <a:gdLst/>
              <a:ahLst/>
              <a:cxnLst>
                <a:cxn ang="0">
                  <a:pos x="0" y="2"/>
                </a:cxn>
                <a:cxn ang="0">
                  <a:pos x="23" y="12"/>
                </a:cxn>
                <a:cxn ang="0">
                  <a:pos x="24" y="11"/>
                </a:cxn>
                <a:cxn ang="0">
                  <a:pos x="23" y="10"/>
                </a:cxn>
                <a:cxn ang="0">
                  <a:pos x="1" y="0"/>
                </a:cxn>
                <a:cxn ang="0">
                  <a:pos x="0" y="0"/>
                </a:cxn>
                <a:cxn ang="0">
                  <a:pos x="0" y="1"/>
                </a:cxn>
                <a:cxn ang="0">
                  <a:pos x="0" y="2"/>
                </a:cxn>
              </a:cxnLst>
              <a:rect l="0" t="0" r="r" b="b"/>
              <a:pathLst>
                <a:path w="24" h="12">
                  <a:moveTo>
                    <a:pt x="0" y="2"/>
                  </a:moveTo>
                  <a:cubicBezTo>
                    <a:pt x="7" y="7"/>
                    <a:pt x="15" y="11"/>
                    <a:pt x="23" y="12"/>
                  </a:cubicBezTo>
                  <a:cubicBezTo>
                    <a:pt x="24" y="12"/>
                    <a:pt x="24" y="12"/>
                    <a:pt x="24" y="11"/>
                  </a:cubicBezTo>
                  <a:cubicBezTo>
                    <a:pt x="24" y="10"/>
                    <a:pt x="24" y="10"/>
                    <a:pt x="23" y="10"/>
                  </a:cubicBezTo>
                  <a:cubicBezTo>
                    <a:pt x="15" y="9"/>
                    <a:pt x="7" y="5"/>
                    <a:pt x="1" y="0"/>
                  </a:cubicBezTo>
                  <a:cubicBezTo>
                    <a:pt x="0" y="0"/>
                    <a:pt x="0" y="0"/>
                    <a:pt x="0" y="0"/>
                  </a:cubicBezTo>
                  <a:cubicBezTo>
                    <a:pt x="0" y="1"/>
                    <a:pt x="0" y="1"/>
                    <a:pt x="0" y="1"/>
                  </a:cubicBezTo>
                  <a:cubicBezTo>
                    <a:pt x="0" y="1"/>
                    <a:pt x="0" y="2"/>
                    <a:pt x="0"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40" name="Freeform 513">
              <a:extLst>
                <a:ext uri="{FF2B5EF4-FFF2-40B4-BE49-F238E27FC236}">
                  <a16:creationId xmlns:a16="http://schemas.microsoft.com/office/drawing/2014/main" id="{0C7F1666-2531-4FF8-9082-B87CD83370F2}"/>
                </a:ext>
              </a:extLst>
            </p:cNvPr>
            <p:cNvSpPr>
              <a:spLocks/>
            </p:cNvSpPr>
            <p:nvPr/>
          </p:nvSpPr>
          <p:spPr bwMode="auto">
            <a:xfrm>
              <a:off x="996951" y="1990725"/>
              <a:ext cx="36513" cy="149225"/>
            </a:xfrm>
            <a:custGeom>
              <a:avLst/>
              <a:gdLst/>
              <a:ahLst/>
              <a:cxnLst>
                <a:cxn ang="0">
                  <a:pos x="23" y="82"/>
                </a:cxn>
                <a:cxn ang="0">
                  <a:pos x="1" y="94"/>
                </a:cxn>
                <a:cxn ang="0">
                  <a:pos x="0" y="94"/>
                </a:cxn>
                <a:cxn ang="0">
                  <a:pos x="0" y="12"/>
                </a:cxn>
                <a:cxn ang="0">
                  <a:pos x="0" y="12"/>
                </a:cxn>
                <a:cxn ang="0">
                  <a:pos x="23" y="0"/>
                </a:cxn>
              </a:cxnLst>
              <a:rect l="0" t="0" r="r" b="b"/>
              <a:pathLst>
                <a:path w="23" h="94">
                  <a:moveTo>
                    <a:pt x="23" y="82"/>
                  </a:moveTo>
                  <a:lnTo>
                    <a:pt x="1" y="94"/>
                  </a:lnTo>
                  <a:lnTo>
                    <a:pt x="0" y="94"/>
                  </a:lnTo>
                  <a:lnTo>
                    <a:pt x="0" y="12"/>
                  </a:lnTo>
                  <a:lnTo>
                    <a:pt x="0" y="12"/>
                  </a:lnTo>
                  <a:lnTo>
                    <a:pt x="23" y="0"/>
                  </a:ln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grpSp>
      <p:grpSp>
        <p:nvGrpSpPr>
          <p:cNvPr id="42" name="Group 567">
            <a:extLst>
              <a:ext uri="{FF2B5EF4-FFF2-40B4-BE49-F238E27FC236}">
                <a16:creationId xmlns:a16="http://schemas.microsoft.com/office/drawing/2014/main" id="{050DDF7C-8845-45EE-8F84-92600E426E2A}"/>
              </a:ext>
            </a:extLst>
          </p:cNvPr>
          <p:cNvGrpSpPr/>
          <p:nvPr/>
        </p:nvGrpSpPr>
        <p:grpSpPr>
          <a:xfrm>
            <a:off x="4207043" y="5270705"/>
            <a:ext cx="382588" cy="478574"/>
            <a:chOff x="935038" y="1820863"/>
            <a:chExt cx="382588" cy="387350"/>
          </a:xfrm>
        </p:grpSpPr>
        <p:sp>
          <p:nvSpPr>
            <p:cNvPr id="43" name="Freeform 492">
              <a:extLst>
                <a:ext uri="{FF2B5EF4-FFF2-40B4-BE49-F238E27FC236}">
                  <a16:creationId xmlns:a16="http://schemas.microsoft.com/office/drawing/2014/main" id="{F80AA3F7-8466-4C35-A0E4-EC1D61E8FB18}"/>
                </a:ext>
              </a:extLst>
            </p:cNvPr>
            <p:cNvSpPr>
              <a:spLocks/>
            </p:cNvSpPr>
            <p:nvPr/>
          </p:nvSpPr>
          <p:spPr bwMode="auto">
            <a:xfrm>
              <a:off x="1077913" y="2065338"/>
              <a:ext cx="15875" cy="20638"/>
            </a:xfrm>
            <a:custGeom>
              <a:avLst/>
              <a:gdLst/>
              <a:ahLst/>
              <a:cxnLst>
                <a:cxn ang="0">
                  <a:pos x="1" y="6"/>
                </a:cxn>
                <a:cxn ang="0">
                  <a:pos x="3" y="1"/>
                </a:cxn>
                <a:cxn ang="0">
                  <a:pos x="8" y="5"/>
                </a:cxn>
                <a:cxn ang="0">
                  <a:pos x="5" y="10"/>
                </a:cxn>
                <a:cxn ang="0">
                  <a:pos x="1" y="6"/>
                </a:cxn>
              </a:cxnLst>
              <a:rect l="0" t="0" r="r" b="b"/>
              <a:pathLst>
                <a:path w="8" h="11">
                  <a:moveTo>
                    <a:pt x="1" y="6"/>
                  </a:moveTo>
                  <a:cubicBezTo>
                    <a:pt x="0" y="4"/>
                    <a:pt x="1" y="1"/>
                    <a:pt x="3" y="1"/>
                  </a:cubicBezTo>
                  <a:cubicBezTo>
                    <a:pt x="5" y="0"/>
                    <a:pt x="7" y="2"/>
                    <a:pt x="8" y="5"/>
                  </a:cubicBezTo>
                  <a:cubicBezTo>
                    <a:pt x="8" y="7"/>
                    <a:pt x="7" y="10"/>
                    <a:pt x="5" y="10"/>
                  </a:cubicBezTo>
                  <a:cubicBezTo>
                    <a:pt x="3" y="11"/>
                    <a:pt x="1" y="9"/>
                    <a:pt x="1" y="6"/>
                  </a:cubicBezTo>
                  <a:close/>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44" name="Freeform 493">
              <a:extLst>
                <a:ext uri="{FF2B5EF4-FFF2-40B4-BE49-F238E27FC236}">
                  <a16:creationId xmlns:a16="http://schemas.microsoft.com/office/drawing/2014/main" id="{1323F6C0-E2CF-44D8-AD8C-165753DD2217}"/>
                </a:ext>
              </a:extLst>
            </p:cNvPr>
            <p:cNvSpPr>
              <a:spLocks/>
            </p:cNvSpPr>
            <p:nvPr/>
          </p:nvSpPr>
          <p:spPr bwMode="auto">
            <a:xfrm>
              <a:off x="1071563" y="2058988"/>
              <a:ext cx="25400" cy="33338"/>
            </a:xfrm>
            <a:custGeom>
              <a:avLst/>
              <a:gdLst/>
              <a:ahLst/>
              <a:cxnLst>
                <a:cxn ang="0">
                  <a:pos x="13" y="13"/>
                </a:cxn>
                <a:cxn ang="0">
                  <a:pos x="13" y="13"/>
                </a:cxn>
                <a:cxn ang="0">
                  <a:pos x="9" y="16"/>
                </a:cxn>
                <a:cxn ang="0">
                  <a:pos x="1" y="10"/>
                </a:cxn>
                <a:cxn ang="0">
                  <a:pos x="5" y="1"/>
                </a:cxn>
                <a:cxn ang="0">
                  <a:pos x="13" y="7"/>
                </a:cxn>
                <a:cxn ang="0">
                  <a:pos x="13" y="10"/>
                </a:cxn>
              </a:cxnLst>
              <a:rect l="0" t="0" r="r" b="b"/>
              <a:pathLst>
                <a:path w="13" h="17">
                  <a:moveTo>
                    <a:pt x="13" y="13"/>
                  </a:moveTo>
                  <a:cubicBezTo>
                    <a:pt x="13" y="13"/>
                    <a:pt x="13" y="13"/>
                    <a:pt x="13" y="13"/>
                  </a:cubicBezTo>
                  <a:cubicBezTo>
                    <a:pt x="12" y="15"/>
                    <a:pt x="11" y="16"/>
                    <a:pt x="9" y="16"/>
                  </a:cubicBezTo>
                  <a:cubicBezTo>
                    <a:pt x="6" y="17"/>
                    <a:pt x="2" y="14"/>
                    <a:pt x="1" y="10"/>
                  </a:cubicBezTo>
                  <a:cubicBezTo>
                    <a:pt x="0" y="6"/>
                    <a:pt x="2" y="2"/>
                    <a:pt x="5" y="1"/>
                  </a:cubicBezTo>
                  <a:cubicBezTo>
                    <a:pt x="9" y="0"/>
                    <a:pt x="12" y="3"/>
                    <a:pt x="13" y="7"/>
                  </a:cubicBezTo>
                  <a:cubicBezTo>
                    <a:pt x="13" y="8"/>
                    <a:pt x="13" y="9"/>
                    <a:pt x="13" y="10"/>
                  </a:cubicBezTo>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45" name="Freeform 494">
              <a:extLst>
                <a:ext uri="{FF2B5EF4-FFF2-40B4-BE49-F238E27FC236}">
                  <a16:creationId xmlns:a16="http://schemas.microsoft.com/office/drawing/2014/main" id="{5A5C1709-E82B-4BF6-BF32-53154C7B4283}"/>
                </a:ext>
              </a:extLst>
            </p:cNvPr>
            <p:cNvSpPr>
              <a:spLocks/>
            </p:cNvSpPr>
            <p:nvPr/>
          </p:nvSpPr>
          <p:spPr bwMode="auto">
            <a:xfrm>
              <a:off x="1050926" y="1957388"/>
              <a:ext cx="79375" cy="42863"/>
            </a:xfrm>
            <a:custGeom>
              <a:avLst/>
              <a:gdLst/>
              <a:ahLst/>
              <a:cxnLst>
                <a:cxn ang="0">
                  <a:pos x="2" y="4"/>
                </a:cxn>
                <a:cxn ang="0">
                  <a:pos x="39" y="22"/>
                </a:cxn>
                <a:cxn ang="0">
                  <a:pos x="41" y="20"/>
                </a:cxn>
                <a:cxn ang="0">
                  <a:pos x="39" y="19"/>
                </a:cxn>
                <a:cxn ang="0">
                  <a:pos x="3" y="1"/>
                </a:cxn>
                <a:cxn ang="0">
                  <a:pos x="1" y="1"/>
                </a:cxn>
                <a:cxn ang="0">
                  <a:pos x="0" y="2"/>
                </a:cxn>
                <a:cxn ang="0">
                  <a:pos x="2" y="4"/>
                </a:cxn>
              </a:cxnLst>
              <a:rect l="0" t="0" r="r" b="b"/>
              <a:pathLst>
                <a:path w="41" h="22">
                  <a:moveTo>
                    <a:pt x="2" y="4"/>
                  </a:moveTo>
                  <a:cubicBezTo>
                    <a:pt x="13" y="12"/>
                    <a:pt x="25" y="19"/>
                    <a:pt x="39" y="22"/>
                  </a:cubicBezTo>
                  <a:cubicBezTo>
                    <a:pt x="40" y="22"/>
                    <a:pt x="41" y="21"/>
                    <a:pt x="41" y="20"/>
                  </a:cubicBezTo>
                  <a:cubicBezTo>
                    <a:pt x="40" y="20"/>
                    <a:pt x="40" y="19"/>
                    <a:pt x="39" y="19"/>
                  </a:cubicBezTo>
                  <a:cubicBezTo>
                    <a:pt x="26" y="16"/>
                    <a:pt x="13" y="9"/>
                    <a:pt x="3" y="1"/>
                  </a:cubicBezTo>
                  <a:cubicBezTo>
                    <a:pt x="2" y="0"/>
                    <a:pt x="1" y="0"/>
                    <a:pt x="1" y="1"/>
                  </a:cubicBezTo>
                  <a:cubicBezTo>
                    <a:pt x="1" y="1"/>
                    <a:pt x="0" y="1"/>
                    <a:pt x="0" y="2"/>
                  </a:cubicBezTo>
                  <a:cubicBezTo>
                    <a:pt x="1" y="2"/>
                    <a:pt x="1" y="3"/>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46" name="Freeform 495">
              <a:extLst>
                <a:ext uri="{FF2B5EF4-FFF2-40B4-BE49-F238E27FC236}">
                  <a16:creationId xmlns:a16="http://schemas.microsoft.com/office/drawing/2014/main" id="{B8D89B82-DC07-41A4-A6C5-0EC1BB6AEB84}"/>
                </a:ext>
              </a:extLst>
            </p:cNvPr>
            <p:cNvSpPr>
              <a:spLocks/>
            </p:cNvSpPr>
            <p:nvPr/>
          </p:nvSpPr>
          <p:spPr bwMode="auto">
            <a:xfrm>
              <a:off x="1050926" y="1957388"/>
              <a:ext cx="79375" cy="42863"/>
            </a:xfrm>
            <a:custGeom>
              <a:avLst/>
              <a:gdLst/>
              <a:ahLst/>
              <a:cxnLst>
                <a:cxn ang="0">
                  <a:pos x="2" y="3"/>
                </a:cxn>
                <a:cxn ang="0">
                  <a:pos x="39" y="22"/>
                </a:cxn>
                <a:cxn ang="0">
                  <a:pos x="41" y="20"/>
                </a:cxn>
                <a:cxn ang="0">
                  <a:pos x="39" y="19"/>
                </a:cxn>
                <a:cxn ang="0">
                  <a:pos x="3" y="0"/>
                </a:cxn>
                <a:cxn ang="0">
                  <a:pos x="1" y="0"/>
                </a:cxn>
                <a:cxn ang="0">
                  <a:pos x="0" y="1"/>
                </a:cxn>
                <a:cxn ang="0">
                  <a:pos x="2" y="3"/>
                </a:cxn>
              </a:cxnLst>
              <a:rect l="0" t="0" r="r" b="b"/>
              <a:pathLst>
                <a:path w="41" h="22">
                  <a:moveTo>
                    <a:pt x="2" y="3"/>
                  </a:moveTo>
                  <a:cubicBezTo>
                    <a:pt x="13" y="12"/>
                    <a:pt x="26" y="19"/>
                    <a:pt x="39" y="22"/>
                  </a:cubicBezTo>
                  <a:cubicBezTo>
                    <a:pt x="40" y="22"/>
                    <a:pt x="41" y="21"/>
                    <a:pt x="41" y="20"/>
                  </a:cubicBezTo>
                  <a:cubicBezTo>
                    <a:pt x="40" y="20"/>
                    <a:pt x="40" y="19"/>
                    <a:pt x="39" y="19"/>
                  </a:cubicBezTo>
                  <a:cubicBezTo>
                    <a:pt x="26" y="16"/>
                    <a:pt x="13" y="9"/>
                    <a:pt x="3" y="0"/>
                  </a:cubicBezTo>
                  <a:cubicBezTo>
                    <a:pt x="2" y="0"/>
                    <a:pt x="1" y="0"/>
                    <a:pt x="1" y="0"/>
                  </a:cubicBezTo>
                  <a:cubicBezTo>
                    <a:pt x="1" y="1"/>
                    <a:pt x="0" y="1"/>
                    <a:pt x="0" y="1"/>
                  </a:cubicBezTo>
                  <a:cubicBezTo>
                    <a:pt x="1" y="2"/>
                    <a:pt x="1" y="3"/>
                    <a:pt x="2" y="3"/>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47" name="Freeform 496">
              <a:extLst>
                <a:ext uri="{FF2B5EF4-FFF2-40B4-BE49-F238E27FC236}">
                  <a16:creationId xmlns:a16="http://schemas.microsoft.com/office/drawing/2014/main" id="{BD97764F-AF36-4FC5-8F85-3BFA028B61E1}"/>
                </a:ext>
              </a:extLst>
            </p:cNvPr>
            <p:cNvSpPr>
              <a:spLocks/>
            </p:cNvSpPr>
            <p:nvPr/>
          </p:nvSpPr>
          <p:spPr bwMode="auto">
            <a:xfrm>
              <a:off x="1050926" y="1982788"/>
              <a:ext cx="79375" cy="61913"/>
            </a:xfrm>
            <a:custGeom>
              <a:avLst/>
              <a:gdLst/>
              <a:ahLst/>
              <a:cxnLst>
                <a:cxn ang="0">
                  <a:pos x="0" y="0"/>
                </a:cxn>
                <a:cxn ang="0">
                  <a:pos x="0" y="11"/>
                </a:cxn>
                <a:cxn ang="0">
                  <a:pos x="41" y="32"/>
                </a:cxn>
                <a:cxn ang="0">
                  <a:pos x="41" y="21"/>
                </a:cxn>
                <a:cxn ang="0">
                  <a:pos x="0" y="0"/>
                </a:cxn>
              </a:cxnLst>
              <a:rect l="0" t="0" r="r" b="b"/>
              <a:pathLst>
                <a:path w="41" h="32">
                  <a:moveTo>
                    <a:pt x="0" y="0"/>
                  </a:moveTo>
                  <a:cubicBezTo>
                    <a:pt x="0" y="11"/>
                    <a:pt x="0" y="11"/>
                    <a:pt x="0" y="11"/>
                  </a:cubicBezTo>
                  <a:cubicBezTo>
                    <a:pt x="12" y="21"/>
                    <a:pt x="26" y="28"/>
                    <a:pt x="41" y="32"/>
                  </a:cubicBezTo>
                  <a:cubicBezTo>
                    <a:pt x="41" y="21"/>
                    <a:pt x="41" y="21"/>
                    <a:pt x="41" y="21"/>
                  </a:cubicBezTo>
                  <a:cubicBezTo>
                    <a:pt x="26" y="17"/>
                    <a:pt x="12" y="10"/>
                    <a:pt x="0" y="0"/>
                  </a:cubicBezTo>
                  <a:close/>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48" name="Freeform 497">
              <a:extLst>
                <a:ext uri="{FF2B5EF4-FFF2-40B4-BE49-F238E27FC236}">
                  <a16:creationId xmlns:a16="http://schemas.microsoft.com/office/drawing/2014/main" id="{D536FC13-6166-4C40-96AB-4CF998F3408F}"/>
                </a:ext>
              </a:extLst>
            </p:cNvPr>
            <p:cNvSpPr>
              <a:spLocks/>
            </p:cNvSpPr>
            <p:nvPr/>
          </p:nvSpPr>
          <p:spPr bwMode="auto">
            <a:xfrm>
              <a:off x="1033463" y="1820863"/>
              <a:ext cx="284163" cy="387350"/>
            </a:xfrm>
            <a:custGeom>
              <a:avLst/>
              <a:gdLst/>
              <a:ahLst/>
              <a:cxnLst>
                <a:cxn ang="0">
                  <a:pos x="59" y="200"/>
                </a:cxn>
                <a:cxn ang="0">
                  <a:pos x="0" y="172"/>
                </a:cxn>
                <a:cxn ang="0">
                  <a:pos x="0" y="173"/>
                </a:cxn>
                <a:cxn ang="0">
                  <a:pos x="0" y="49"/>
                </a:cxn>
                <a:cxn ang="0">
                  <a:pos x="0" y="50"/>
                </a:cxn>
                <a:cxn ang="0">
                  <a:pos x="92" y="0"/>
                </a:cxn>
                <a:cxn ang="0">
                  <a:pos x="92" y="0"/>
                </a:cxn>
                <a:cxn ang="0">
                  <a:pos x="147" y="31"/>
                </a:cxn>
              </a:cxnLst>
              <a:rect l="0" t="0" r="r" b="b"/>
              <a:pathLst>
                <a:path w="147" h="200">
                  <a:moveTo>
                    <a:pt x="59" y="200"/>
                  </a:moveTo>
                  <a:cubicBezTo>
                    <a:pt x="40" y="200"/>
                    <a:pt x="10" y="187"/>
                    <a:pt x="0" y="172"/>
                  </a:cubicBezTo>
                  <a:cubicBezTo>
                    <a:pt x="0" y="173"/>
                    <a:pt x="0" y="173"/>
                    <a:pt x="0" y="173"/>
                  </a:cubicBezTo>
                  <a:cubicBezTo>
                    <a:pt x="0" y="49"/>
                    <a:pt x="0" y="49"/>
                    <a:pt x="0" y="49"/>
                  </a:cubicBezTo>
                  <a:cubicBezTo>
                    <a:pt x="0" y="50"/>
                    <a:pt x="0" y="50"/>
                    <a:pt x="0" y="50"/>
                  </a:cubicBezTo>
                  <a:cubicBezTo>
                    <a:pt x="92" y="0"/>
                    <a:pt x="92" y="0"/>
                    <a:pt x="92" y="0"/>
                  </a:cubicBezTo>
                  <a:cubicBezTo>
                    <a:pt x="92" y="0"/>
                    <a:pt x="92" y="0"/>
                    <a:pt x="92" y="0"/>
                  </a:cubicBezTo>
                  <a:cubicBezTo>
                    <a:pt x="147" y="31"/>
                    <a:pt x="147" y="31"/>
                    <a:pt x="147" y="31"/>
                  </a:cubicBez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49" name="Freeform 498">
              <a:extLst>
                <a:ext uri="{FF2B5EF4-FFF2-40B4-BE49-F238E27FC236}">
                  <a16:creationId xmlns:a16="http://schemas.microsoft.com/office/drawing/2014/main" id="{41014334-3BAF-444F-A1DC-C0ACDDBF6AE7}"/>
                </a:ext>
              </a:extLst>
            </p:cNvPr>
            <p:cNvSpPr>
              <a:spLocks/>
            </p:cNvSpPr>
            <p:nvPr/>
          </p:nvSpPr>
          <p:spPr bwMode="auto">
            <a:xfrm>
              <a:off x="1033463" y="1917700"/>
              <a:ext cx="112713" cy="55563"/>
            </a:xfrm>
            <a:custGeom>
              <a:avLst/>
              <a:gdLst/>
              <a:ahLst/>
              <a:cxnLst>
                <a:cxn ang="0">
                  <a:pos x="0" y="0"/>
                </a:cxn>
                <a:cxn ang="0">
                  <a:pos x="58" y="29"/>
                </a:cxn>
              </a:cxnLst>
              <a:rect l="0" t="0" r="r" b="b"/>
              <a:pathLst>
                <a:path w="58" h="29">
                  <a:moveTo>
                    <a:pt x="0" y="0"/>
                  </a:moveTo>
                  <a:cubicBezTo>
                    <a:pt x="10" y="15"/>
                    <a:pt x="40" y="29"/>
                    <a:pt x="58" y="29"/>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0" name="Freeform 499">
              <a:extLst>
                <a:ext uri="{FF2B5EF4-FFF2-40B4-BE49-F238E27FC236}">
                  <a16:creationId xmlns:a16="http://schemas.microsoft.com/office/drawing/2014/main" id="{EF8C5437-B7B9-4F90-AF48-F3DF6B594F96}"/>
                </a:ext>
              </a:extLst>
            </p:cNvPr>
            <p:cNvSpPr>
              <a:spLocks/>
            </p:cNvSpPr>
            <p:nvPr/>
          </p:nvSpPr>
          <p:spPr bwMode="auto">
            <a:xfrm>
              <a:off x="1046163" y="2136775"/>
              <a:ext cx="85725" cy="42863"/>
            </a:xfrm>
            <a:custGeom>
              <a:avLst/>
              <a:gdLst/>
              <a:ahLst/>
              <a:cxnLst>
                <a:cxn ang="0">
                  <a:pos x="2" y="4"/>
                </a:cxn>
                <a:cxn ang="0">
                  <a:pos x="43" y="22"/>
                </a:cxn>
                <a:cxn ang="0">
                  <a:pos x="44" y="19"/>
                </a:cxn>
                <a:cxn ang="0">
                  <a:pos x="42" y="18"/>
                </a:cxn>
                <a:cxn ang="0">
                  <a:pos x="2" y="0"/>
                </a:cxn>
                <a:cxn ang="0">
                  <a:pos x="0" y="0"/>
                </a:cxn>
                <a:cxn ang="0">
                  <a:pos x="0" y="1"/>
                </a:cxn>
                <a:cxn ang="0">
                  <a:pos x="2" y="4"/>
                </a:cxn>
              </a:cxnLst>
              <a:rect l="0" t="0" r="r" b="b"/>
              <a:pathLst>
                <a:path w="44" h="22">
                  <a:moveTo>
                    <a:pt x="2" y="4"/>
                  </a:moveTo>
                  <a:cubicBezTo>
                    <a:pt x="14" y="13"/>
                    <a:pt x="28" y="19"/>
                    <a:pt x="43" y="22"/>
                  </a:cubicBezTo>
                  <a:cubicBezTo>
                    <a:pt x="44" y="22"/>
                    <a:pt x="44" y="20"/>
                    <a:pt x="44" y="19"/>
                  </a:cubicBezTo>
                  <a:cubicBezTo>
                    <a:pt x="44" y="18"/>
                    <a:pt x="43" y="18"/>
                    <a:pt x="42" y="18"/>
                  </a:cubicBezTo>
                  <a:cubicBezTo>
                    <a:pt x="28" y="15"/>
                    <a:pt x="14" y="9"/>
                    <a:pt x="2" y="0"/>
                  </a:cubicBezTo>
                  <a:cubicBezTo>
                    <a:pt x="2" y="0"/>
                    <a:pt x="1" y="0"/>
                    <a:pt x="0" y="0"/>
                  </a:cubicBezTo>
                  <a:cubicBezTo>
                    <a:pt x="0" y="1"/>
                    <a:pt x="0" y="1"/>
                    <a:pt x="0" y="1"/>
                  </a:cubicBezTo>
                  <a:cubicBezTo>
                    <a:pt x="0" y="2"/>
                    <a:pt x="1" y="3"/>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1" name="Freeform 500">
              <a:extLst>
                <a:ext uri="{FF2B5EF4-FFF2-40B4-BE49-F238E27FC236}">
                  <a16:creationId xmlns:a16="http://schemas.microsoft.com/office/drawing/2014/main" id="{A49938B1-DF48-4AD2-89A4-3C224651ABF1}"/>
                </a:ext>
              </a:extLst>
            </p:cNvPr>
            <p:cNvSpPr>
              <a:spLocks/>
            </p:cNvSpPr>
            <p:nvPr/>
          </p:nvSpPr>
          <p:spPr bwMode="auto">
            <a:xfrm>
              <a:off x="1046163" y="2124075"/>
              <a:ext cx="85725" cy="42863"/>
            </a:xfrm>
            <a:custGeom>
              <a:avLst/>
              <a:gdLst/>
              <a:ahLst/>
              <a:cxnLst>
                <a:cxn ang="0">
                  <a:pos x="2" y="4"/>
                </a:cxn>
                <a:cxn ang="0">
                  <a:pos x="43" y="22"/>
                </a:cxn>
                <a:cxn ang="0">
                  <a:pos x="44" y="19"/>
                </a:cxn>
                <a:cxn ang="0">
                  <a:pos x="42" y="18"/>
                </a:cxn>
                <a:cxn ang="0">
                  <a:pos x="2" y="0"/>
                </a:cxn>
                <a:cxn ang="0">
                  <a:pos x="0" y="0"/>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8"/>
                    <a:pt x="42" y="18"/>
                  </a:cubicBezTo>
                  <a:cubicBezTo>
                    <a:pt x="28" y="16"/>
                    <a:pt x="14" y="10"/>
                    <a:pt x="2" y="0"/>
                  </a:cubicBezTo>
                  <a:cubicBezTo>
                    <a:pt x="2" y="0"/>
                    <a:pt x="1" y="0"/>
                    <a:pt x="0" y="0"/>
                  </a:cubicBezTo>
                  <a:cubicBezTo>
                    <a:pt x="0" y="1"/>
                    <a:pt x="0" y="1"/>
                    <a:pt x="0" y="2"/>
                  </a:cubicBezTo>
                  <a:cubicBezTo>
                    <a:pt x="0" y="3"/>
                    <a:pt x="1" y="4"/>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2" name="Freeform 501">
              <a:extLst>
                <a:ext uri="{FF2B5EF4-FFF2-40B4-BE49-F238E27FC236}">
                  <a16:creationId xmlns:a16="http://schemas.microsoft.com/office/drawing/2014/main" id="{53E882DA-3ABE-4460-8515-004BBCC48F51}"/>
                </a:ext>
              </a:extLst>
            </p:cNvPr>
            <p:cNvSpPr>
              <a:spLocks/>
            </p:cNvSpPr>
            <p:nvPr/>
          </p:nvSpPr>
          <p:spPr bwMode="auto">
            <a:xfrm>
              <a:off x="1046163" y="2112963"/>
              <a:ext cx="85725" cy="42863"/>
            </a:xfrm>
            <a:custGeom>
              <a:avLst/>
              <a:gdLst/>
              <a:ahLst/>
              <a:cxnLst>
                <a:cxn ang="0">
                  <a:pos x="2" y="4"/>
                </a:cxn>
                <a:cxn ang="0">
                  <a:pos x="43" y="22"/>
                </a:cxn>
                <a:cxn ang="0">
                  <a:pos x="44" y="19"/>
                </a:cxn>
                <a:cxn ang="0">
                  <a:pos x="42" y="18"/>
                </a:cxn>
                <a:cxn ang="0">
                  <a:pos x="2" y="0"/>
                </a:cxn>
                <a:cxn ang="0">
                  <a:pos x="0" y="1"/>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9"/>
                    <a:pt x="42" y="18"/>
                  </a:cubicBezTo>
                  <a:cubicBezTo>
                    <a:pt x="28" y="16"/>
                    <a:pt x="14" y="10"/>
                    <a:pt x="2" y="0"/>
                  </a:cubicBezTo>
                  <a:cubicBezTo>
                    <a:pt x="2" y="0"/>
                    <a:pt x="1" y="0"/>
                    <a:pt x="0" y="1"/>
                  </a:cubicBezTo>
                  <a:cubicBezTo>
                    <a:pt x="0" y="1"/>
                    <a:pt x="0" y="2"/>
                    <a:pt x="0" y="2"/>
                  </a:cubicBezTo>
                  <a:cubicBezTo>
                    <a:pt x="0" y="3"/>
                    <a:pt x="1" y="4"/>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3" name="Freeform 502">
              <a:extLst>
                <a:ext uri="{FF2B5EF4-FFF2-40B4-BE49-F238E27FC236}">
                  <a16:creationId xmlns:a16="http://schemas.microsoft.com/office/drawing/2014/main" id="{579254C3-9B27-44A2-9982-F177968C4FE8}"/>
                </a:ext>
              </a:extLst>
            </p:cNvPr>
            <p:cNvSpPr>
              <a:spLocks/>
            </p:cNvSpPr>
            <p:nvPr/>
          </p:nvSpPr>
          <p:spPr bwMode="auto">
            <a:xfrm>
              <a:off x="1146176" y="1881188"/>
              <a:ext cx="171450" cy="325438"/>
            </a:xfrm>
            <a:custGeom>
              <a:avLst/>
              <a:gdLst/>
              <a:ahLst/>
              <a:cxnLst>
                <a:cxn ang="0">
                  <a:pos x="69" y="168"/>
                </a:cxn>
                <a:cxn ang="0">
                  <a:pos x="1" y="205"/>
                </a:cxn>
                <a:cxn ang="0">
                  <a:pos x="1" y="205"/>
                </a:cxn>
                <a:cxn ang="0">
                  <a:pos x="1" y="58"/>
                </a:cxn>
                <a:cxn ang="0">
                  <a:pos x="0" y="58"/>
                </a:cxn>
                <a:cxn ang="0">
                  <a:pos x="108" y="0"/>
                </a:cxn>
                <a:cxn ang="0">
                  <a:pos x="108" y="146"/>
                </a:cxn>
                <a:cxn ang="0">
                  <a:pos x="89" y="158"/>
                </a:cxn>
              </a:cxnLst>
              <a:rect l="0" t="0" r="r" b="b"/>
              <a:pathLst>
                <a:path w="108" h="205">
                  <a:moveTo>
                    <a:pt x="69" y="168"/>
                  </a:moveTo>
                  <a:lnTo>
                    <a:pt x="1" y="205"/>
                  </a:lnTo>
                  <a:lnTo>
                    <a:pt x="1" y="205"/>
                  </a:lnTo>
                  <a:lnTo>
                    <a:pt x="1" y="58"/>
                  </a:lnTo>
                  <a:lnTo>
                    <a:pt x="0" y="58"/>
                  </a:lnTo>
                  <a:lnTo>
                    <a:pt x="108" y="0"/>
                  </a:lnTo>
                  <a:lnTo>
                    <a:pt x="108" y="146"/>
                  </a:lnTo>
                  <a:lnTo>
                    <a:pt x="89" y="158"/>
                  </a:ln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4" name="Freeform 503">
              <a:extLst>
                <a:ext uri="{FF2B5EF4-FFF2-40B4-BE49-F238E27FC236}">
                  <a16:creationId xmlns:a16="http://schemas.microsoft.com/office/drawing/2014/main" id="{8A1A2923-CBAB-4C12-95DD-ABBC1B4F64B0}"/>
                </a:ext>
              </a:extLst>
            </p:cNvPr>
            <p:cNvSpPr>
              <a:spLocks/>
            </p:cNvSpPr>
            <p:nvPr/>
          </p:nvSpPr>
          <p:spPr bwMode="auto">
            <a:xfrm>
              <a:off x="957263" y="2060575"/>
              <a:ext cx="9525" cy="11113"/>
            </a:xfrm>
            <a:custGeom>
              <a:avLst/>
              <a:gdLst/>
              <a:ahLst/>
              <a:cxnLst>
                <a:cxn ang="0">
                  <a:pos x="1" y="3"/>
                </a:cxn>
                <a:cxn ang="0">
                  <a:pos x="2" y="0"/>
                </a:cxn>
                <a:cxn ang="0">
                  <a:pos x="5" y="2"/>
                </a:cxn>
                <a:cxn ang="0">
                  <a:pos x="3" y="5"/>
                </a:cxn>
                <a:cxn ang="0">
                  <a:pos x="1" y="3"/>
                </a:cxn>
              </a:cxnLst>
              <a:rect l="0" t="0" r="r" b="b"/>
              <a:pathLst>
                <a:path w="5" h="6">
                  <a:moveTo>
                    <a:pt x="1" y="3"/>
                  </a:moveTo>
                  <a:cubicBezTo>
                    <a:pt x="0" y="2"/>
                    <a:pt x="1" y="1"/>
                    <a:pt x="2" y="0"/>
                  </a:cubicBezTo>
                  <a:cubicBezTo>
                    <a:pt x="3" y="0"/>
                    <a:pt x="5" y="1"/>
                    <a:pt x="5" y="2"/>
                  </a:cubicBezTo>
                  <a:cubicBezTo>
                    <a:pt x="5" y="4"/>
                    <a:pt x="5" y="5"/>
                    <a:pt x="3" y="5"/>
                  </a:cubicBezTo>
                  <a:cubicBezTo>
                    <a:pt x="2" y="6"/>
                    <a:pt x="1" y="5"/>
                    <a:pt x="1" y="3"/>
                  </a:cubicBezTo>
                  <a:close/>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5" name="Freeform 504">
              <a:extLst>
                <a:ext uri="{FF2B5EF4-FFF2-40B4-BE49-F238E27FC236}">
                  <a16:creationId xmlns:a16="http://schemas.microsoft.com/office/drawing/2014/main" id="{D694A70F-11D5-4DD6-B02D-97045215E3F3}"/>
                </a:ext>
              </a:extLst>
            </p:cNvPr>
            <p:cNvSpPr>
              <a:spLocks/>
            </p:cNvSpPr>
            <p:nvPr/>
          </p:nvSpPr>
          <p:spPr bwMode="auto">
            <a:xfrm>
              <a:off x="955676" y="2057400"/>
              <a:ext cx="14288" cy="19050"/>
            </a:xfrm>
            <a:custGeom>
              <a:avLst/>
              <a:gdLst/>
              <a:ahLst/>
              <a:cxnLst>
                <a:cxn ang="0">
                  <a:pos x="7" y="7"/>
                </a:cxn>
                <a:cxn ang="0">
                  <a:pos x="7" y="7"/>
                </a:cxn>
                <a:cxn ang="0">
                  <a:pos x="5" y="9"/>
                </a:cxn>
                <a:cxn ang="0">
                  <a:pos x="0" y="6"/>
                </a:cxn>
                <a:cxn ang="0">
                  <a:pos x="3" y="1"/>
                </a:cxn>
                <a:cxn ang="0">
                  <a:pos x="7" y="4"/>
                </a:cxn>
                <a:cxn ang="0">
                  <a:pos x="7" y="6"/>
                </a:cxn>
              </a:cxnLst>
              <a:rect l="0" t="0" r="r" b="b"/>
              <a:pathLst>
                <a:path w="7" h="10">
                  <a:moveTo>
                    <a:pt x="7" y="7"/>
                  </a:moveTo>
                  <a:cubicBezTo>
                    <a:pt x="7" y="7"/>
                    <a:pt x="7" y="7"/>
                    <a:pt x="7" y="7"/>
                  </a:cubicBezTo>
                  <a:cubicBezTo>
                    <a:pt x="6" y="8"/>
                    <a:pt x="6" y="9"/>
                    <a:pt x="5" y="9"/>
                  </a:cubicBezTo>
                  <a:cubicBezTo>
                    <a:pt x="3" y="10"/>
                    <a:pt x="1" y="8"/>
                    <a:pt x="0" y="6"/>
                  </a:cubicBezTo>
                  <a:cubicBezTo>
                    <a:pt x="0" y="3"/>
                    <a:pt x="1" y="1"/>
                    <a:pt x="3" y="1"/>
                  </a:cubicBezTo>
                  <a:cubicBezTo>
                    <a:pt x="5" y="0"/>
                    <a:pt x="7" y="2"/>
                    <a:pt x="7" y="4"/>
                  </a:cubicBezTo>
                  <a:cubicBezTo>
                    <a:pt x="7" y="5"/>
                    <a:pt x="7" y="5"/>
                    <a:pt x="7" y="6"/>
                  </a:cubicBezTo>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6" name="Freeform 505">
              <a:extLst>
                <a:ext uri="{FF2B5EF4-FFF2-40B4-BE49-F238E27FC236}">
                  <a16:creationId xmlns:a16="http://schemas.microsoft.com/office/drawing/2014/main" id="{656C08DE-D56E-486A-8CE7-4503688ADA56}"/>
                </a:ext>
              </a:extLst>
            </p:cNvPr>
            <p:cNvSpPr>
              <a:spLocks/>
            </p:cNvSpPr>
            <p:nvPr/>
          </p:nvSpPr>
          <p:spPr bwMode="auto">
            <a:xfrm>
              <a:off x="944563" y="2000250"/>
              <a:ext cx="42863" cy="25400"/>
            </a:xfrm>
            <a:custGeom>
              <a:avLst/>
              <a:gdLst/>
              <a:ahLst/>
              <a:cxnLst>
                <a:cxn ang="0">
                  <a:pos x="1" y="2"/>
                </a:cxn>
                <a:cxn ang="0">
                  <a:pos x="21" y="13"/>
                </a:cxn>
                <a:cxn ang="0">
                  <a:pos x="22" y="11"/>
                </a:cxn>
                <a:cxn ang="0">
                  <a:pos x="21" y="11"/>
                </a:cxn>
                <a:cxn ang="0">
                  <a:pos x="1" y="0"/>
                </a:cxn>
                <a:cxn ang="0">
                  <a:pos x="0" y="0"/>
                </a:cxn>
                <a:cxn ang="0">
                  <a:pos x="0" y="1"/>
                </a:cxn>
                <a:cxn ang="0">
                  <a:pos x="1" y="2"/>
                </a:cxn>
              </a:cxnLst>
              <a:rect l="0" t="0" r="r" b="b"/>
              <a:pathLst>
                <a:path w="22" h="13">
                  <a:moveTo>
                    <a:pt x="1" y="2"/>
                  </a:moveTo>
                  <a:cubicBezTo>
                    <a:pt x="7" y="7"/>
                    <a:pt x="14" y="11"/>
                    <a:pt x="21" y="13"/>
                  </a:cubicBezTo>
                  <a:cubicBezTo>
                    <a:pt x="22" y="13"/>
                    <a:pt x="22" y="12"/>
                    <a:pt x="22" y="11"/>
                  </a:cubicBezTo>
                  <a:cubicBezTo>
                    <a:pt x="22" y="11"/>
                    <a:pt x="22" y="11"/>
                    <a:pt x="21" y="11"/>
                  </a:cubicBezTo>
                  <a:cubicBezTo>
                    <a:pt x="14" y="9"/>
                    <a:pt x="7" y="5"/>
                    <a:pt x="1" y="0"/>
                  </a:cubicBezTo>
                  <a:cubicBezTo>
                    <a:pt x="1" y="0"/>
                    <a:pt x="0" y="0"/>
                    <a:pt x="0" y="0"/>
                  </a:cubicBezTo>
                  <a:cubicBezTo>
                    <a:pt x="0" y="0"/>
                    <a:pt x="0" y="1"/>
                    <a:pt x="0" y="1"/>
                  </a:cubicBezTo>
                  <a:cubicBezTo>
                    <a:pt x="0" y="1"/>
                    <a:pt x="0" y="2"/>
                    <a:pt x="1"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7" name="Freeform 506">
              <a:extLst>
                <a:ext uri="{FF2B5EF4-FFF2-40B4-BE49-F238E27FC236}">
                  <a16:creationId xmlns:a16="http://schemas.microsoft.com/office/drawing/2014/main" id="{C42E2F31-3388-45A0-917D-BFB389C458F2}"/>
                </a:ext>
              </a:extLst>
            </p:cNvPr>
            <p:cNvSpPr>
              <a:spLocks/>
            </p:cNvSpPr>
            <p:nvPr/>
          </p:nvSpPr>
          <p:spPr bwMode="auto">
            <a:xfrm>
              <a:off x="944563" y="2000250"/>
              <a:ext cx="42863" cy="25400"/>
            </a:xfrm>
            <a:custGeom>
              <a:avLst/>
              <a:gdLst/>
              <a:ahLst/>
              <a:cxnLst>
                <a:cxn ang="0">
                  <a:pos x="1" y="2"/>
                </a:cxn>
                <a:cxn ang="0">
                  <a:pos x="21" y="13"/>
                </a:cxn>
                <a:cxn ang="0">
                  <a:pos x="22" y="11"/>
                </a:cxn>
                <a:cxn ang="0">
                  <a:pos x="21" y="11"/>
                </a:cxn>
                <a:cxn ang="0">
                  <a:pos x="1" y="0"/>
                </a:cxn>
                <a:cxn ang="0">
                  <a:pos x="0" y="0"/>
                </a:cxn>
                <a:cxn ang="0">
                  <a:pos x="0" y="1"/>
                </a:cxn>
                <a:cxn ang="0">
                  <a:pos x="1" y="2"/>
                </a:cxn>
              </a:cxnLst>
              <a:rect l="0" t="0" r="r" b="b"/>
              <a:pathLst>
                <a:path w="22" h="13">
                  <a:moveTo>
                    <a:pt x="1" y="2"/>
                  </a:moveTo>
                  <a:cubicBezTo>
                    <a:pt x="7" y="7"/>
                    <a:pt x="14" y="11"/>
                    <a:pt x="21" y="13"/>
                  </a:cubicBezTo>
                  <a:cubicBezTo>
                    <a:pt x="22" y="13"/>
                    <a:pt x="22" y="12"/>
                    <a:pt x="22" y="11"/>
                  </a:cubicBezTo>
                  <a:cubicBezTo>
                    <a:pt x="22" y="11"/>
                    <a:pt x="22" y="11"/>
                    <a:pt x="21" y="11"/>
                  </a:cubicBezTo>
                  <a:cubicBezTo>
                    <a:pt x="14" y="9"/>
                    <a:pt x="7" y="5"/>
                    <a:pt x="1" y="0"/>
                  </a:cubicBezTo>
                  <a:cubicBezTo>
                    <a:pt x="1" y="0"/>
                    <a:pt x="0" y="0"/>
                    <a:pt x="0" y="0"/>
                  </a:cubicBezTo>
                  <a:cubicBezTo>
                    <a:pt x="0" y="0"/>
                    <a:pt x="0" y="1"/>
                    <a:pt x="0" y="1"/>
                  </a:cubicBezTo>
                  <a:cubicBezTo>
                    <a:pt x="0" y="1"/>
                    <a:pt x="0" y="2"/>
                    <a:pt x="1"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8" name="Freeform 507">
              <a:extLst>
                <a:ext uri="{FF2B5EF4-FFF2-40B4-BE49-F238E27FC236}">
                  <a16:creationId xmlns:a16="http://schemas.microsoft.com/office/drawing/2014/main" id="{63BB2538-19FE-4072-84AF-1274B0B8252D}"/>
                </a:ext>
              </a:extLst>
            </p:cNvPr>
            <p:cNvSpPr>
              <a:spLocks/>
            </p:cNvSpPr>
            <p:nvPr/>
          </p:nvSpPr>
          <p:spPr bwMode="auto">
            <a:xfrm>
              <a:off x="944563" y="2016125"/>
              <a:ext cx="42863" cy="33338"/>
            </a:xfrm>
            <a:custGeom>
              <a:avLst/>
              <a:gdLst/>
              <a:ahLst/>
              <a:cxnLst>
                <a:cxn ang="0">
                  <a:pos x="0" y="0"/>
                </a:cxn>
                <a:cxn ang="0">
                  <a:pos x="0" y="5"/>
                </a:cxn>
                <a:cxn ang="0">
                  <a:pos x="22" y="17"/>
                </a:cxn>
                <a:cxn ang="0">
                  <a:pos x="22" y="11"/>
                </a:cxn>
                <a:cxn ang="0">
                  <a:pos x="0" y="0"/>
                </a:cxn>
              </a:cxnLst>
              <a:rect l="0" t="0" r="r" b="b"/>
              <a:pathLst>
                <a:path w="22" h="17">
                  <a:moveTo>
                    <a:pt x="0" y="0"/>
                  </a:moveTo>
                  <a:cubicBezTo>
                    <a:pt x="0" y="5"/>
                    <a:pt x="0" y="5"/>
                    <a:pt x="0" y="5"/>
                  </a:cubicBezTo>
                  <a:cubicBezTo>
                    <a:pt x="6" y="11"/>
                    <a:pt x="14" y="15"/>
                    <a:pt x="22" y="17"/>
                  </a:cubicBezTo>
                  <a:cubicBezTo>
                    <a:pt x="22" y="11"/>
                    <a:pt x="22" y="11"/>
                    <a:pt x="22" y="11"/>
                  </a:cubicBezTo>
                  <a:cubicBezTo>
                    <a:pt x="14" y="9"/>
                    <a:pt x="6" y="5"/>
                    <a:pt x="0" y="0"/>
                  </a:cubicBezTo>
                  <a:close/>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59" name="Freeform 508">
              <a:extLst>
                <a:ext uri="{FF2B5EF4-FFF2-40B4-BE49-F238E27FC236}">
                  <a16:creationId xmlns:a16="http://schemas.microsoft.com/office/drawing/2014/main" id="{DD2D56B8-9C39-4735-AA03-C4035F17C3B5}"/>
                </a:ext>
              </a:extLst>
            </p:cNvPr>
            <p:cNvSpPr>
              <a:spLocks/>
            </p:cNvSpPr>
            <p:nvPr/>
          </p:nvSpPr>
          <p:spPr bwMode="auto">
            <a:xfrm>
              <a:off x="935038" y="1922463"/>
              <a:ext cx="98425" cy="217488"/>
            </a:xfrm>
            <a:custGeom>
              <a:avLst/>
              <a:gdLst/>
              <a:ahLst/>
              <a:cxnLst>
                <a:cxn ang="0">
                  <a:pos x="32" y="112"/>
                </a:cxn>
                <a:cxn ang="0">
                  <a:pos x="0" y="97"/>
                </a:cxn>
                <a:cxn ang="0">
                  <a:pos x="0" y="97"/>
                </a:cxn>
                <a:cxn ang="0">
                  <a:pos x="0" y="28"/>
                </a:cxn>
                <a:cxn ang="0">
                  <a:pos x="0" y="28"/>
                </a:cxn>
                <a:cxn ang="0">
                  <a:pos x="51" y="0"/>
                </a:cxn>
                <a:cxn ang="0">
                  <a:pos x="51" y="0"/>
                </a:cxn>
              </a:cxnLst>
              <a:rect l="0" t="0" r="r" b="b"/>
              <a:pathLst>
                <a:path w="51" h="112">
                  <a:moveTo>
                    <a:pt x="32" y="112"/>
                  </a:moveTo>
                  <a:cubicBezTo>
                    <a:pt x="22" y="112"/>
                    <a:pt x="5" y="105"/>
                    <a:pt x="0" y="97"/>
                  </a:cubicBezTo>
                  <a:cubicBezTo>
                    <a:pt x="0" y="97"/>
                    <a:pt x="0" y="97"/>
                    <a:pt x="0" y="97"/>
                  </a:cubicBezTo>
                  <a:cubicBezTo>
                    <a:pt x="0" y="28"/>
                    <a:pt x="0" y="28"/>
                    <a:pt x="0" y="28"/>
                  </a:cubicBezTo>
                  <a:cubicBezTo>
                    <a:pt x="0" y="28"/>
                    <a:pt x="0" y="28"/>
                    <a:pt x="0" y="28"/>
                  </a:cubicBezTo>
                  <a:cubicBezTo>
                    <a:pt x="51" y="0"/>
                    <a:pt x="51" y="0"/>
                    <a:pt x="51" y="0"/>
                  </a:cubicBezTo>
                  <a:cubicBezTo>
                    <a:pt x="51" y="0"/>
                    <a:pt x="51" y="0"/>
                    <a:pt x="51" y="0"/>
                  </a:cubicBez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0" name="Freeform 509">
              <a:extLst>
                <a:ext uri="{FF2B5EF4-FFF2-40B4-BE49-F238E27FC236}">
                  <a16:creationId xmlns:a16="http://schemas.microsoft.com/office/drawing/2014/main" id="{FC7D5BF3-AE10-4093-8BBF-645FFAE2A9E7}"/>
                </a:ext>
              </a:extLst>
            </p:cNvPr>
            <p:cNvSpPr>
              <a:spLocks/>
            </p:cNvSpPr>
            <p:nvPr/>
          </p:nvSpPr>
          <p:spPr bwMode="auto">
            <a:xfrm>
              <a:off x="935038" y="1978025"/>
              <a:ext cx="61913" cy="31750"/>
            </a:xfrm>
            <a:custGeom>
              <a:avLst/>
              <a:gdLst/>
              <a:ahLst/>
              <a:cxnLst>
                <a:cxn ang="0">
                  <a:pos x="0" y="0"/>
                </a:cxn>
                <a:cxn ang="0">
                  <a:pos x="32" y="17"/>
                </a:cxn>
              </a:cxnLst>
              <a:rect l="0" t="0" r="r" b="b"/>
              <a:pathLst>
                <a:path w="32" h="17">
                  <a:moveTo>
                    <a:pt x="0" y="0"/>
                  </a:moveTo>
                  <a:cubicBezTo>
                    <a:pt x="5" y="9"/>
                    <a:pt x="22" y="17"/>
                    <a:pt x="32" y="17"/>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1" name="Freeform 510">
              <a:extLst>
                <a:ext uri="{FF2B5EF4-FFF2-40B4-BE49-F238E27FC236}">
                  <a16:creationId xmlns:a16="http://schemas.microsoft.com/office/drawing/2014/main" id="{C2EC663F-84B8-43D0-8843-AFB7E36C4FC2}"/>
                </a:ext>
              </a:extLst>
            </p:cNvPr>
            <p:cNvSpPr>
              <a:spLocks/>
            </p:cNvSpPr>
            <p:nvPr/>
          </p:nvSpPr>
          <p:spPr bwMode="auto">
            <a:xfrm>
              <a:off x="942976" y="2098675"/>
              <a:ext cx="46038" cy="25400"/>
            </a:xfrm>
            <a:custGeom>
              <a:avLst/>
              <a:gdLst/>
              <a:ahLst/>
              <a:cxnLst>
                <a:cxn ang="0">
                  <a:pos x="0" y="3"/>
                </a:cxn>
                <a:cxn ang="0">
                  <a:pos x="23" y="13"/>
                </a:cxn>
                <a:cxn ang="0">
                  <a:pos x="24" y="11"/>
                </a:cxn>
                <a:cxn ang="0">
                  <a:pos x="23" y="11"/>
                </a:cxn>
                <a:cxn ang="0">
                  <a:pos x="1" y="0"/>
                </a:cxn>
                <a:cxn ang="0">
                  <a:pos x="0" y="1"/>
                </a:cxn>
                <a:cxn ang="0">
                  <a:pos x="0" y="1"/>
                </a:cxn>
                <a:cxn ang="0">
                  <a:pos x="0" y="3"/>
                </a:cxn>
              </a:cxnLst>
              <a:rect l="0" t="0" r="r" b="b"/>
              <a:pathLst>
                <a:path w="24" h="13">
                  <a:moveTo>
                    <a:pt x="0" y="3"/>
                  </a:moveTo>
                  <a:cubicBezTo>
                    <a:pt x="7" y="8"/>
                    <a:pt x="15" y="11"/>
                    <a:pt x="23" y="13"/>
                  </a:cubicBezTo>
                  <a:cubicBezTo>
                    <a:pt x="24" y="13"/>
                    <a:pt x="24" y="12"/>
                    <a:pt x="24" y="11"/>
                  </a:cubicBezTo>
                  <a:cubicBezTo>
                    <a:pt x="24" y="11"/>
                    <a:pt x="24" y="11"/>
                    <a:pt x="23" y="11"/>
                  </a:cubicBezTo>
                  <a:cubicBezTo>
                    <a:pt x="15" y="9"/>
                    <a:pt x="7" y="6"/>
                    <a:pt x="1" y="0"/>
                  </a:cubicBezTo>
                  <a:cubicBezTo>
                    <a:pt x="0" y="0"/>
                    <a:pt x="0" y="0"/>
                    <a:pt x="0" y="1"/>
                  </a:cubicBezTo>
                  <a:cubicBezTo>
                    <a:pt x="0" y="1"/>
                    <a:pt x="0" y="1"/>
                    <a:pt x="0" y="1"/>
                  </a:cubicBezTo>
                  <a:cubicBezTo>
                    <a:pt x="0" y="2"/>
                    <a:pt x="0" y="2"/>
                    <a:pt x="0" y="3"/>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2" name="Freeform 511">
              <a:extLst>
                <a:ext uri="{FF2B5EF4-FFF2-40B4-BE49-F238E27FC236}">
                  <a16:creationId xmlns:a16="http://schemas.microsoft.com/office/drawing/2014/main" id="{C9DEA718-B6B9-4CE6-A951-B1934B48D3BC}"/>
                </a:ext>
              </a:extLst>
            </p:cNvPr>
            <p:cNvSpPr>
              <a:spLocks/>
            </p:cNvSpPr>
            <p:nvPr/>
          </p:nvSpPr>
          <p:spPr bwMode="auto">
            <a:xfrm>
              <a:off x="942976" y="2093913"/>
              <a:ext cx="46038" cy="25400"/>
            </a:xfrm>
            <a:custGeom>
              <a:avLst/>
              <a:gdLst/>
              <a:ahLst/>
              <a:cxnLst>
                <a:cxn ang="0">
                  <a:pos x="0" y="2"/>
                </a:cxn>
                <a:cxn ang="0">
                  <a:pos x="23" y="13"/>
                </a:cxn>
                <a:cxn ang="0">
                  <a:pos x="24" y="11"/>
                </a:cxn>
                <a:cxn ang="0">
                  <a:pos x="23" y="10"/>
                </a:cxn>
                <a:cxn ang="0">
                  <a:pos x="1" y="0"/>
                </a:cxn>
                <a:cxn ang="0">
                  <a:pos x="0" y="0"/>
                </a:cxn>
                <a:cxn ang="0">
                  <a:pos x="0" y="1"/>
                </a:cxn>
                <a:cxn ang="0">
                  <a:pos x="0" y="2"/>
                </a:cxn>
              </a:cxnLst>
              <a:rect l="0" t="0" r="r" b="b"/>
              <a:pathLst>
                <a:path w="24" h="13">
                  <a:moveTo>
                    <a:pt x="0" y="2"/>
                  </a:moveTo>
                  <a:cubicBezTo>
                    <a:pt x="7" y="8"/>
                    <a:pt x="15" y="11"/>
                    <a:pt x="23" y="13"/>
                  </a:cubicBezTo>
                  <a:cubicBezTo>
                    <a:pt x="24" y="13"/>
                    <a:pt x="24" y="12"/>
                    <a:pt x="24" y="11"/>
                  </a:cubicBezTo>
                  <a:cubicBezTo>
                    <a:pt x="24" y="11"/>
                    <a:pt x="24" y="10"/>
                    <a:pt x="23" y="10"/>
                  </a:cubicBezTo>
                  <a:cubicBezTo>
                    <a:pt x="15" y="9"/>
                    <a:pt x="7" y="6"/>
                    <a:pt x="1" y="0"/>
                  </a:cubicBezTo>
                  <a:cubicBezTo>
                    <a:pt x="0" y="0"/>
                    <a:pt x="0" y="0"/>
                    <a:pt x="0" y="0"/>
                  </a:cubicBezTo>
                  <a:cubicBezTo>
                    <a:pt x="0" y="1"/>
                    <a:pt x="0" y="1"/>
                    <a:pt x="0" y="1"/>
                  </a:cubicBezTo>
                  <a:cubicBezTo>
                    <a:pt x="0" y="2"/>
                    <a:pt x="0" y="2"/>
                    <a:pt x="0"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3" name="Freeform 512">
              <a:extLst>
                <a:ext uri="{FF2B5EF4-FFF2-40B4-BE49-F238E27FC236}">
                  <a16:creationId xmlns:a16="http://schemas.microsoft.com/office/drawing/2014/main" id="{F2E04F96-A572-4D6F-9AB1-6E1976947457}"/>
                </a:ext>
              </a:extLst>
            </p:cNvPr>
            <p:cNvSpPr>
              <a:spLocks/>
            </p:cNvSpPr>
            <p:nvPr/>
          </p:nvSpPr>
          <p:spPr bwMode="auto">
            <a:xfrm>
              <a:off x="942976" y="2087563"/>
              <a:ext cx="46038" cy="23813"/>
            </a:xfrm>
            <a:custGeom>
              <a:avLst/>
              <a:gdLst/>
              <a:ahLst/>
              <a:cxnLst>
                <a:cxn ang="0">
                  <a:pos x="0" y="2"/>
                </a:cxn>
                <a:cxn ang="0">
                  <a:pos x="23" y="12"/>
                </a:cxn>
                <a:cxn ang="0">
                  <a:pos x="24" y="11"/>
                </a:cxn>
                <a:cxn ang="0">
                  <a:pos x="23" y="10"/>
                </a:cxn>
                <a:cxn ang="0">
                  <a:pos x="1" y="0"/>
                </a:cxn>
                <a:cxn ang="0">
                  <a:pos x="0" y="0"/>
                </a:cxn>
                <a:cxn ang="0">
                  <a:pos x="0" y="1"/>
                </a:cxn>
                <a:cxn ang="0">
                  <a:pos x="0" y="2"/>
                </a:cxn>
              </a:cxnLst>
              <a:rect l="0" t="0" r="r" b="b"/>
              <a:pathLst>
                <a:path w="24" h="12">
                  <a:moveTo>
                    <a:pt x="0" y="2"/>
                  </a:moveTo>
                  <a:cubicBezTo>
                    <a:pt x="7" y="7"/>
                    <a:pt x="15" y="11"/>
                    <a:pt x="23" y="12"/>
                  </a:cubicBezTo>
                  <a:cubicBezTo>
                    <a:pt x="24" y="12"/>
                    <a:pt x="24" y="12"/>
                    <a:pt x="24" y="11"/>
                  </a:cubicBezTo>
                  <a:cubicBezTo>
                    <a:pt x="24" y="10"/>
                    <a:pt x="24" y="10"/>
                    <a:pt x="23" y="10"/>
                  </a:cubicBezTo>
                  <a:cubicBezTo>
                    <a:pt x="15" y="9"/>
                    <a:pt x="7" y="5"/>
                    <a:pt x="1" y="0"/>
                  </a:cubicBezTo>
                  <a:cubicBezTo>
                    <a:pt x="0" y="0"/>
                    <a:pt x="0" y="0"/>
                    <a:pt x="0" y="0"/>
                  </a:cubicBezTo>
                  <a:cubicBezTo>
                    <a:pt x="0" y="1"/>
                    <a:pt x="0" y="1"/>
                    <a:pt x="0" y="1"/>
                  </a:cubicBezTo>
                  <a:cubicBezTo>
                    <a:pt x="0" y="1"/>
                    <a:pt x="0" y="2"/>
                    <a:pt x="0"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4" name="Freeform 513">
              <a:extLst>
                <a:ext uri="{FF2B5EF4-FFF2-40B4-BE49-F238E27FC236}">
                  <a16:creationId xmlns:a16="http://schemas.microsoft.com/office/drawing/2014/main" id="{AC7CDD9A-E00F-42DF-A8B0-3EE7F6FCB5DF}"/>
                </a:ext>
              </a:extLst>
            </p:cNvPr>
            <p:cNvSpPr>
              <a:spLocks/>
            </p:cNvSpPr>
            <p:nvPr/>
          </p:nvSpPr>
          <p:spPr bwMode="auto">
            <a:xfrm>
              <a:off x="996951" y="1990725"/>
              <a:ext cx="36513" cy="149225"/>
            </a:xfrm>
            <a:custGeom>
              <a:avLst/>
              <a:gdLst/>
              <a:ahLst/>
              <a:cxnLst>
                <a:cxn ang="0">
                  <a:pos x="23" y="82"/>
                </a:cxn>
                <a:cxn ang="0">
                  <a:pos x="1" y="94"/>
                </a:cxn>
                <a:cxn ang="0">
                  <a:pos x="0" y="94"/>
                </a:cxn>
                <a:cxn ang="0">
                  <a:pos x="0" y="12"/>
                </a:cxn>
                <a:cxn ang="0">
                  <a:pos x="0" y="12"/>
                </a:cxn>
                <a:cxn ang="0">
                  <a:pos x="23" y="0"/>
                </a:cxn>
              </a:cxnLst>
              <a:rect l="0" t="0" r="r" b="b"/>
              <a:pathLst>
                <a:path w="23" h="94">
                  <a:moveTo>
                    <a:pt x="23" y="82"/>
                  </a:moveTo>
                  <a:lnTo>
                    <a:pt x="1" y="94"/>
                  </a:lnTo>
                  <a:lnTo>
                    <a:pt x="0" y="94"/>
                  </a:lnTo>
                  <a:lnTo>
                    <a:pt x="0" y="12"/>
                  </a:lnTo>
                  <a:lnTo>
                    <a:pt x="0" y="12"/>
                  </a:lnTo>
                  <a:lnTo>
                    <a:pt x="23" y="0"/>
                  </a:ln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grpSp>
      <p:grpSp>
        <p:nvGrpSpPr>
          <p:cNvPr id="65" name="Group 567">
            <a:extLst>
              <a:ext uri="{FF2B5EF4-FFF2-40B4-BE49-F238E27FC236}">
                <a16:creationId xmlns:a16="http://schemas.microsoft.com/office/drawing/2014/main" id="{4549C4BA-7E1B-4EF9-AFAD-55BE23E39742}"/>
              </a:ext>
            </a:extLst>
          </p:cNvPr>
          <p:cNvGrpSpPr/>
          <p:nvPr/>
        </p:nvGrpSpPr>
        <p:grpSpPr>
          <a:xfrm>
            <a:off x="4838308" y="5263344"/>
            <a:ext cx="470639" cy="473073"/>
            <a:chOff x="935038" y="1820863"/>
            <a:chExt cx="382588" cy="387350"/>
          </a:xfrm>
        </p:grpSpPr>
        <p:sp>
          <p:nvSpPr>
            <p:cNvPr id="66" name="Freeform 492">
              <a:extLst>
                <a:ext uri="{FF2B5EF4-FFF2-40B4-BE49-F238E27FC236}">
                  <a16:creationId xmlns:a16="http://schemas.microsoft.com/office/drawing/2014/main" id="{C5341241-0BBA-43BE-AB1E-E8C6C7BEFE1D}"/>
                </a:ext>
              </a:extLst>
            </p:cNvPr>
            <p:cNvSpPr>
              <a:spLocks/>
            </p:cNvSpPr>
            <p:nvPr/>
          </p:nvSpPr>
          <p:spPr bwMode="auto">
            <a:xfrm>
              <a:off x="1077913" y="2065338"/>
              <a:ext cx="15875" cy="20638"/>
            </a:xfrm>
            <a:custGeom>
              <a:avLst/>
              <a:gdLst/>
              <a:ahLst/>
              <a:cxnLst>
                <a:cxn ang="0">
                  <a:pos x="1" y="6"/>
                </a:cxn>
                <a:cxn ang="0">
                  <a:pos x="3" y="1"/>
                </a:cxn>
                <a:cxn ang="0">
                  <a:pos x="8" y="5"/>
                </a:cxn>
                <a:cxn ang="0">
                  <a:pos x="5" y="10"/>
                </a:cxn>
                <a:cxn ang="0">
                  <a:pos x="1" y="6"/>
                </a:cxn>
              </a:cxnLst>
              <a:rect l="0" t="0" r="r" b="b"/>
              <a:pathLst>
                <a:path w="8" h="11">
                  <a:moveTo>
                    <a:pt x="1" y="6"/>
                  </a:moveTo>
                  <a:cubicBezTo>
                    <a:pt x="0" y="4"/>
                    <a:pt x="1" y="1"/>
                    <a:pt x="3" y="1"/>
                  </a:cubicBezTo>
                  <a:cubicBezTo>
                    <a:pt x="5" y="0"/>
                    <a:pt x="7" y="2"/>
                    <a:pt x="8" y="5"/>
                  </a:cubicBezTo>
                  <a:cubicBezTo>
                    <a:pt x="8" y="7"/>
                    <a:pt x="7" y="10"/>
                    <a:pt x="5" y="10"/>
                  </a:cubicBezTo>
                  <a:cubicBezTo>
                    <a:pt x="3" y="11"/>
                    <a:pt x="1" y="9"/>
                    <a:pt x="1" y="6"/>
                  </a:cubicBezTo>
                  <a:close/>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7" name="Freeform 493">
              <a:extLst>
                <a:ext uri="{FF2B5EF4-FFF2-40B4-BE49-F238E27FC236}">
                  <a16:creationId xmlns:a16="http://schemas.microsoft.com/office/drawing/2014/main" id="{91FBBEB7-8247-41FA-801D-DE73DB63801E}"/>
                </a:ext>
              </a:extLst>
            </p:cNvPr>
            <p:cNvSpPr>
              <a:spLocks/>
            </p:cNvSpPr>
            <p:nvPr/>
          </p:nvSpPr>
          <p:spPr bwMode="auto">
            <a:xfrm>
              <a:off x="1071563" y="2058988"/>
              <a:ext cx="25400" cy="33338"/>
            </a:xfrm>
            <a:custGeom>
              <a:avLst/>
              <a:gdLst/>
              <a:ahLst/>
              <a:cxnLst>
                <a:cxn ang="0">
                  <a:pos x="13" y="13"/>
                </a:cxn>
                <a:cxn ang="0">
                  <a:pos x="13" y="13"/>
                </a:cxn>
                <a:cxn ang="0">
                  <a:pos x="9" y="16"/>
                </a:cxn>
                <a:cxn ang="0">
                  <a:pos x="1" y="10"/>
                </a:cxn>
                <a:cxn ang="0">
                  <a:pos x="5" y="1"/>
                </a:cxn>
                <a:cxn ang="0">
                  <a:pos x="13" y="7"/>
                </a:cxn>
                <a:cxn ang="0">
                  <a:pos x="13" y="10"/>
                </a:cxn>
              </a:cxnLst>
              <a:rect l="0" t="0" r="r" b="b"/>
              <a:pathLst>
                <a:path w="13" h="17">
                  <a:moveTo>
                    <a:pt x="13" y="13"/>
                  </a:moveTo>
                  <a:cubicBezTo>
                    <a:pt x="13" y="13"/>
                    <a:pt x="13" y="13"/>
                    <a:pt x="13" y="13"/>
                  </a:cubicBezTo>
                  <a:cubicBezTo>
                    <a:pt x="12" y="15"/>
                    <a:pt x="11" y="16"/>
                    <a:pt x="9" y="16"/>
                  </a:cubicBezTo>
                  <a:cubicBezTo>
                    <a:pt x="6" y="17"/>
                    <a:pt x="2" y="14"/>
                    <a:pt x="1" y="10"/>
                  </a:cubicBezTo>
                  <a:cubicBezTo>
                    <a:pt x="0" y="6"/>
                    <a:pt x="2" y="2"/>
                    <a:pt x="5" y="1"/>
                  </a:cubicBezTo>
                  <a:cubicBezTo>
                    <a:pt x="9" y="0"/>
                    <a:pt x="12" y="3"/>
                    <a:pt x="13" y="7"/>
                  </a:cubicBezTo>
                  <a:cubicBezTo>
                    <a:pt x="13" y="8"/>
                    <a:pt x="13" y="9"/>
                    <a:pt x="13" y="10"/>
                  </a:cubicBezTo>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8" name="Freeform 494">
              <a:extLst>
                <a:ext uri="{FF2B5EF4-FFF2-40B4-BE49-F238E27FC236}">
                  <a16:creationId xmlns:a16="http://schemas.microsoft.com/office/drawing/2014/main" id="{B40F539D-3A9B-4836-8F41-F92E469FED49}"/>
                </a:ext>
              </a:extLst>
            </p:cNvPr>
            <p:cNvSpPr>
              <a:spLocks/>
            </p:cNvSpPr>
            <p:nvPr/>
          </p:nvSpPr>
          <p:spPr bwMode="auto">
            <a:xfrm>
              <a:off x="1050926" y="1957388"/>
              <a:ext cx="79375" cy="42863"/>
            </a:xfrm>
            <a:custGeom>
              <a:avLst/>
              <a:gdLst/>
              <a:ahLst/>
              <a:cxnLst>
                <a:cxn ang="0">
                  <a:pos x="2" y="4"/>
                </a:cxn>
                <a:cxn ang="0">
                  <a:pos x="39" y="22"/>
                </a:cxn>
                <a:cxn ang="0">
                  <a:pos x="41" y="20"/>
                </a:cxn>
                <a:cxn ang="0">
                  <a:pos x="39" y="19"/>
                </a:cxn>
                <a:cxn ang="0">
                  <a:pos x="3" y="1"/>
                </a:cxn>
                <a:cxn ang="0">
                  <a:pos x="1" y="1"/>
                </a:cxn>
                <a:cxn ang="0">
                  <a:pos x="0" y="2"/>
                </a:cxn>
                <a:cxn ang="0">
                  <a:pos x="2" y="4"/>
                </a:cxn>
              </a:cxnLst>
              <a:rect l="0" t="0" r="r" b="b"/>
              <a:pathLst>
                <a:path w="41" h="22">
                  <a:moveTo>
                    <a:pt x="2" y="4"/>
                  </a:moveTo>
                  <a:cubicBezTo>
                    <a:pt x="13" y="12"/>
                    <a:pt x="25" y="19"/>
                    <a:pt x="39" y="22"/>
                  </a:cubicBezTo>
                  <a:cubicBezTo>
                    <a:pt x="40" y="22"/>
                    <a:pt x="41" y="21"/>
                    <a:pt x="41" y="20"/>
                  </a:cubicBezTo>
                  <a:cubicBezTo>
                    <a:pt x="40" y="20"/>
                    <a:pt x="40" y="19"/>
                    <a:pt x="39" y="19"/>
                  </a:cubicBezTo>
                  <a:cubicBezTo>
                    <a:pt x="26" y="16"/>
                    <a:pt x="13" y="9"/>
                    <a:pt x="3" y="1"/>
                  </a:cubicBezTo>
                  <a:cubicBezTo>
                    <a:pt x="2" y="0"/>
                    <a:pt x="1" y="0"/>
                    <a:pt x="1" y="1"/>
                  </a:cubicBezTo>
                  <a:cubicBezTo>
                    <a:pt x="1" y="1"/>
                    <a:pt x="0" y="1"/>
                    <a:pt x="0" y="2"/>
                  </a:cubicBezTo>
                  <a:cubicBezTo>
                    <a:pt x="1" y="2"/>
                    <a:pt x="1" y="3"/>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69" name="Freeform 495">
              <a:extLst>
                <a:ext uri="{FF2B5EF4-FFF2-40B4-BE49-F238E27FC236}">
                  <a16:creationId xmlns:a16="http://schemas.microsoft.com/office/drawing/2014/main" id="{C28B9DA1-38B3-4D37-8B70-626841B94EF1}"/>
                </a:ext>
              </a:extLst>
            </p:cNvPr>
            <p:cNvSpPr>
              <a:spLocks/>
            </p:cNvSpPr>
            <p:nvPr/>
          </p:nvSpPr>
          <p:spPr bwMode="auto">
            <a:xfrm>
              <a:off x="1050926" y="1957388"/>
              <a:ext cx="79375" cy="42863"/>
            </a:xfrm>
            <a:custGeom>
              <a:avLst/>
              <a:gdLst/>
              <a:ahLst/>
              <a:cxnLst>
                <a:cxn ang="0">
                  <a:pos x="2" y="3"/>
                </a:cxn>
                <a:cxn ang="0">
                  <a:pos x="39" y="22"/>
                </a:cxn>
                <a:cxn ang="0">
                  <a:pos x="41" y="20"/>
                </a:cxn>
                <a:cxn ang="0">
                  <a:pos x="39" y="19"/>
                </a:cxn>
                <a:cxn ang="0">
                  <a:pos x="3" y="0"/>
                </a:cxn>
                <a:cxn ang="0">
                  <a:pos x="1" y="0"/>
                </a:cxn>
                <a:cxn ang="0">
                  <a:pos x="0" y="1"/>
                </a:cxn>
                <a:cxn ang="0">
                  <a:pos x="2" y="3"/>
                </a:cxn>
              </a:cxnLst>
              <a:rect l="0" t="0" r="r" b="b"/>
              <a:pathLst>
                <a:path w="41" h="22">
                  <a:moveTo>
                    <a:pt x="2" y="3"/>
                  </a:moveTo>
                  <a:cubicBezTo>
                    <a:pt x="13" y="12"/>
                    <a:pt x="26" y="19"/>
                    <a:pt x="39" y="22"/>
                  </a:cubicBezTo>
                  <a:cubicBezTo>
                    <a:pt x="40" y="22"/>
                    <a:pt x="41" y="21"/>
                    <a:pt x="41" y="20"/>
                  </a:cubicBezTo>
                  <a:cubicBezTo>
                    <a:pt x="40" y="20"/>
                    <a:pt x="40" y="19"/>
                    <a:pt x="39" y="19"/>
                  </a:cubicBezTo>
                  <a:cubicBezTo>
                    <a:pt x="26" y="16"/>
                    <a:pt x="13" y="9"/>
                    <a:pt x="3" y="0"/>
                  </a:cubicBezTo>
                  <a:cubicBezTo>
                    <a:pt x="2" y="0"/>
                    <a:pt x="1" y="0"/>
                    <a:pt x="1" y="0"/>
                  </a:cubicBezTo>
                  <a:cubicBezTo>
                    <a:pt x="1" y="1"/>
                    <a:pt x="0" y="1"/>
                    <a:pt x="0" y="1"/>
                  </a:cubicBezTo>
                  <a:cubicBezTo>
                    <a:pt x="1" y="2"/>
                    <a:pt x="1" y="3"/>
                    <a:pt x="2" y="3"/>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0" name="Freeform 496">
              <a:extLst>
                <a:ext uri="{FF2B5EF4-FFF2-40B4-BE49-F238E27FC236}">
                  <a16:creationId xmlns:a16="http://schemas.microsoft.com/office/drawing/2014/main" id="{C76EBDD1-F2FB-40CD-910F-261C162AF087}"/>
                </a:ext>
              </a:extLst>
            </p:cNvPr>
            <p:cNvSpPr>
              <a:spLocks/>
            </p:cNvSpPr>
            <p:nvPr/>
          </p:nvSpPr>
          <p:spPr bwMode="auto">
            <a:xfrm>
              <a:off x="1050926" y="1982788"/>
              <a:ext cx="79375" cy="61913"/>
            </a:xfrm>
            <a:custGeom>
              <a:avLst/>
              <a:gdLst/>
              <a:ahLst/>
              <a:cxnLst>
                <a:cxn ang="0">
                  <a:pos x="0" y="0"/>
                </a:cxn>
                <a:cxn ang="0">
                  <a:pos x="0" y="11"/>
                </a:cxn>
                <a:cxn ang="0">
                  <a:pos x="41" y="32"/>
                </a:cxn>
                <a:cxn ang="0">
                  <a:pos x="41" y="21"/>
                </a:cxn>
                <a:cxn ang="0">
                  <a:pos x="0" y="0"/>
                </a:cxn>
              </a:cxnLst>
              <a:rect l="0" t="0" r="r" b="b"/>
              <a:pathLst>
                <a:path w="41" h="32">
                  <a:moveTo>
                    <a:pt x="0" y="0"/>
                  </a:moveTo>
                  <a:cubicBezTo>
                    <a:pt x="0" y="11"/>
                    <a:pt x="0" y="11"/>
                    <a:pt x="0" y="11"/>
                  </a:cubicBezTo>
                  <a:cubicBezTo>
                    <a:pt x="12" y="21"/>
                    <a:pt x="26" y="28"/>
                    <a:pt x="41" y="32"/>
                  </a:cubicBezTo>
                  <a:cubicBezTo>
                    <a:pt x="41" y="21"/>
                    <a:pt x="41" y="21"/>
                    <a:pt x="41" y="21"/>
                  </a:cubicBezTo>
                  <a:cubicBezTo>
                    <a:pt x="26" y="17"/>
                    <a:pt x="12" y="10"/>
                    <a:pt x="0" y="0"/>
                  </a:cubicBezTo>
                  <a:close/>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1" name="Freeform 497">
              <a:extLst>
                <a:ext uri="{FF2B5EF4-FFF2-40B4-BE49-F238E27FC236}">
                  <a16:creationId xmlns:a16="http://schemas.microsoft.com/office/drawing/2014/main" id="{A25BDA87-CED0-4E1F-9EF1-DA6FCA1D7D86}"/>
                </a:ext>
              </a:extLst>
            </p:cNvPr>
            <p:cNvSpPr>
              <a:spLocks/>
            </p:cNvSpPr>
            <p:nvPr/>
          </p:nvSpPr>
          <p:spPr bwMode="auto">
            <a:xfrm>
              <a:off x="1033463" y="1820863"/>
              <a:ext cx="284163" cy="387350"/>
            </a:xfrm>
            <a:custGeom>
              <a:avLst/>
              <a:gdLst/>
              <a:ahLst/>
              <a:cxnLst>
                <a:cxn ang="0">
                  <a:pos x="59" y="200"/>
                </a:cxn>
                <a:cxn ang="0">
                  <a:pos x="0" y="172"/>
                </a:cxn>
                <a:cxn ang="0">
                  <a:pos x="0" y="173"/>
                </a:cxn>
                <a:cxn ang="0">
                  <a:pos x="0" y="49"/>
                </a:cxn>
                <a:cxn ang="0">
                  <a:pos x="0" y="50"/>
                </a:cxn>
                <a:cxn ang="0">
                  <a:pos x="92" y="0"/>
                </a:cxn>
                <a:cxn ang="0">
                  <a:pos x="92" y="0"/>
                </a:cxn>
                <a:cxn ang="0">
                  <a:pos x="147" y="31"/>
                </a:cxn>
              </a:cxnLst>
              <a:rect l="0" t="0" r="r" b="b"/>
              <a:pathLst>
                <a:path w="147" h="200">
                  <a:moveTo>
                    <a:pt x="59" y="200"/>
                  </a:moveTo>
                  <a:cubicBezTo>
                    <a:pt x="40" y="200"/>
                    <a:pt x="10" y="187"/>
                    <a:pt x="0" y="172"/>
                  </a:cubicBezTo>
                  <a:cubicBezTo>
                    <a:pt x="0" y="173"/>
                    <a:pt x="0" y="173"/>
                    <a:pt x="0" y="173"/>
                  </a:cubicBezTo>
                  <a:cubicBezTo>
                    <a:pt x="0" y="49"/>
                    <a:pt x="0" y="49"/>
                    <a:pt x="0" y="49"/>
                  </a:cubicBezTo>
                  <a:cubicBezTo>
                    <a:pt x="0" y="50"/>
                    <a:pt x="0" y="50"/>
                    <a:pt x="0" y="50"/>
                  </a:cubicBezTo>
                  <a:cubicBezTo>
                    <a:pt x="92" y="0"/>
                    <a:pt x="92" y="0"/>
                    <a:pt x="92" y="0"/>
                  </a:cubicBezTo>
                  <a:cubicBezTo>
                    <a:pt x="92" y="0"/>
                    <a:pt x="92" y="0"/>
                    <a:pt x="92" y="0"/>
                  </a:cubicBezTo>
                  <a:cubicBezTo>
                    <a:pt x="147" y="31"/>
                    <a:pt x="147" y="31"/>
                    <a:pt x="147" y="31"/>
                  </a:cubicBez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2" name="Freeform 498">
              <a:extLst>
                <a:ext uri="{FF2B5EF4-FFF2-40B4-BE49-F238E27FC236}">
                  <a16:creationId xmlns:a16="http://schemas.microsoft.com/office/drawing/2014/main" id="{5A8CF19E-3F21-4165-B82D-B404E05837BF}"/>
                </a:ext>
              </a:extLst>
            </p:cNvPr>
            <p:cNvSpPr>
              <a:spLocks/>
            </p:cNvSpPr>
            <p:nvPr/>
          </p:nvSpPr>
          <p:spPr bwMode="auto">
            <a:xfrm>
              <a:off x="1033463" y="1917700"/>
              <a:ext cx="112713" cy="55563"/>
            </a:xfrm>
            <a:custGeom>
              <a:avLst/>
              <a:gdLst/>
              <a:ahLst/>
              <a:cxnLst>
                <a:cxn ang="0">
                  <a:pos x="0" y="0"/>
                </a:cxn>
                <a:cxn ang="0">
                  <a:pos x="58" y="29"/>
                </a:cxn>
              </a:cxnLst>
              <a:rect l="0" t="0" r="r" b="b"/>
              <a:pathLst>
                <a:path w="58" h="29">
                  <a:moveTo>
                    <a:pt x="0" y="0"/>
                  </a:moveTo>
                  <a:cubicBezTo>
                    <a:pt x="10" y="15"/>
                    <a:pt x="40" y="29"/>
                    <a:pt x="58" y="29"/>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3" name="Freeform 499">
              <a:extLst>
                <a:ext uri="{FF2B5EF4-FFF2-40B4-BE49-F238E27FC236}">
                  <a16:creationId xmlns:a16="http://schemas.microsoft.com/office/drawing/2014/main" id="{2E77E657-598D-42BB-BF01-8B17514CE045}"/>
                </a:ext>
              </a:extLst>
            </p:cNvPr>
            <p:cNvSpPr>
              <a:spLocks/>
            </p:cNvSpPr>
            <p:nvPr/>
          </p:nvSpPr>
          <p:spPr bwMode="auto">
            <a:xfrm>
              <a:off x="1046163" y="2136775"/>
              <a:ext cx="85725" cy="42863"/>
            </a:xfrm>
            <a:custGeom>
              <a:avLst/>
              <a:gdLst/>
              <a:ahLst/>
              <a:cxnLst>
                <a:cxn ang="0">
                  <a:pos x="2" y="4"/>
                </a:cxn>
                <a:cxn ang="0">
                  <a:pos x="43" y="22"/>
                </a:cxn>
                <a:cxn ang="0">
                  <a:pos x="44" y="19"/>
                </a:cxn>
                <a:cxn ang="0">
                  <a:pos x="42" y="18"/>
                </a:cxn>
                <a:cxn ang="0">
                  <a:pos x="2" y="0"/>
                </a:cxn>
                <a:cxn ang="0">
                  <a:pos x="0" y="0"/>
                </a:cxn>
                <a:cxn ang="0">
                  <a:pos x="0" y="1"/>
                </a:cxn>
                <a:cxn ang="0">
                  <a:pos x="2" y="4"/>
                </a:cxn>
              </a:cxnLst>
              <a:rect l="0" t="0" r="r" b="b"/>
              <a:pathLst>
                <a:path w="44" h="22">
                  <a:moveTo>
                    <a:pt x="2" y="4"/>
                  </a:moveTo>
                  <a:cubicBezTo>
                    <a:pt x="14" y="13"/>
                    <a:pt x="28" y="19"/>
                    <a:pt x="43" y="22"/>
                  </a:cubicBezTo>
                  <a:cubicBezTo>
                    <a:pt x="44" y="22"/>
                    <a:pt x="44" y="20"/>
                    <a:pt x="44" y="19"/>
                  </a:cubicBezTo>
                  <a:cubicBezTo>
                    <a:pt x="44" y="18"/>
                    <a:pt x="43" y="18"/>
                    <a:pt x="42" y="18"/>
                  </a:cubicBezTo>
                  <a:cubicBezTo>
                    <a:pt x="28" y="15"/>
                    <a:pt x="14" y="9"/>
                    <a:pt x="2" y="0"/>
                  </a:cubicBezTo>
                  <a:cubicBezTo>
                    <a:pt x="2" y="0"/>
                    <a:pt x="1" y="0"/>
                    <a:pt x="0" y="0"/>
                  </a:cubicBezTo>
                  <a:cubicBezTo>
                    <a:pt x="0" y="1"/>
                    <a:pt x="0" y="1"/>
                    <a:pt x="0" y="1"/>
                  </a:cubicBezTo>
                  <a:cubicBezTo>
                    <a:pt x="0" y="2"/>
                    <a:pt x="1" y="3"/>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4" name="Freeform 500">
              <a:extLst>
                <a:ext uri="{FF2B5EF4-FFF2-40B4-BE49-F238E27FC236}">
                  <a16:creationId xmlns:a16="http://schemas.microsoft.com/office/drawing/2014/main" id="{78AA8F8D-5E47-4305-A769-2D05113398E3}"/>
                </a:ext>
              </a:extLst>
            </p:cNvPr>
            <p:cNvSpPr>
              <a:spLocks/>
            </p:cNvSpPr>
            <p:nvPr/>
          </p:nvSpPr>
          <p:spPr bwMode="auto">
            <a:xfrm>
              <a:off x="1046163" y="2124075"/>
              <a:ext cx="85725" cy="42863"/>
            </a:xfrm>
            <a:custGeom>
              <a:avLst/>
              <a:gdLst/>
              <a:ahLst/>
              <a:cxnLst>
                <a:cxn ang="0">
                  <a:pos x="2" y="4"/>
                </a:cxn>
                <a:cxn ang="0">
                  <a:pos x="43" y="22"/>
                </a:cxn>
                <a:cxn ang="0">
                  <a:pos x="44" y="19"/>
                </a:cxn>
                <a:cxn ang="0">
                  <a:pos x="42" y="18"/>
                </a:cxn>
                <a:cxn ang="0">
                  <a:pos x="2" y="0"/>
                </a:cxn>
                <a:cxn ang="0">
                  <a:pos x="0" y="0"/>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8"/>
                    <a:pt x="42" y="18"/>
                  </a:cubicBezTo>
                  <a:cubicBezTo>
                    <a:pt x="28" y="16"/>
                    <a:pt x="14" y="10"/>
                    <a:pt x="2" y="0"/>
                  </a:cubicBezTo>
                  <a:cubicBezTo>
                    <a:pt x="2" y="0"/>
                    <a:pt x="1" y="0"/>
                    <a:pt x="0" y="0"/>
                  </a:cubicBezTo>
                  <a:cubicBezTo>
                    <a:pt x="0" y="1"/>
                    <a:pt x="0" y="1"/>
                    <a:pt x="0" y="2"/>
                  </a:cubicBezTo>
                  <a:cubicBezTo>
                    <a:pt x="0" y="3"/>
                    <a:pt x="1" y="4"/>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5" name="Freeform 501">
              <a:extLst>
                <a:ext uri="{FF2B5EF4-FFF2-40B4-BE49-F238E27FC236}">
                  <a16:creationId xmlns:a16="http://schemas.microsoft.com/office/drawing/2014/main" id="{FFFB8E2C-C097-4271-A6A0-0DD111FE7BEB}"/>
                </a:ext>
              </a:extLst>
            </p:cNvPr>
            <p:cNvSpPr>
              <a:spLocks/>
            </p:cNvSpPr>
            <p:nvPr/>
          </p:nvSpPr>
          <p:spPr bwMode="auto">
            <a:xfrm>
              <a:off x="1046163" y="2112963"/>
              <a:ext cx="85725" cy="42863"/>
            </a:xfrm>
            <a:custGeom>
              <a:avLst/>
              <a:gdLst/>
              <a:ahLst/>
              <a:cxnLst>
                <a:cxn ang="0">
                  <a:pos x="2" y="4"/>
                </a:cxn>
                <a:cxn ang="0">
                  <a:pos x="43" y="22"/>
                </a:cxn>
                <a:cxn ang="0">
                  <a:pos x="44" y="19"/>
                </a:cxn>
                <a:cxn ang="0">
                  <a:pos x="42" y="18"/>
                </a:cxn>
                <a:cxn ang="0">
                  <a:pos x="2" y="0"/>
                </a:cxn>
                <a:cxn ang="0">
                  <a:pos x="0" y="1"/>
                </a:cxn>
                <a:cxn ang="0">
                  <a:pos x="0" y="2"/>
                </a:cxn>
                <a:cxn ang="0">
                  <a:pos x="2" y="4"/>
                </a:cxn>
              </a:cxnLst>
              <a:rect l="0" t="0" r="r" b="b"/>
              <a:pathLst>
                <a:path w="44" h="22">
                  <a:moveTo>
                    <a:pt x="2" y="4"/>
                  </a:moveTo>
                  <a:cubicBezTo>
                    <a:pt x="14" y="13"/>
                    <a:pt x="28" y="20"/>
                    <a:pt x="43" y="22"/>
                  </a:cubicBezTo>
                  <a:cubicBezTo>
                    <a:pt x="44" y="22"/>
                    <a:pt x="44" y="21"/>
                    <a:pt x="44" y="19"/>
                  </a:cubicBezTo>
                  <a:cubicBezTo>
                    <a:pt x="44" y="19"/>
                    <a:pt x="43" y="19"/>
                    <a:pt x="42" y="18"/>
                  </a:cubicBezTo>
                  <a:cubicBezTo>
                    <a:pt x="28" y="16"/>
                    <a:pt x="14" y="10"/>
                    <a:pt x="2" y="0"/>
                  </a:cubicBezTo>
                  <a:cubicBezTo>
                    <a:pt x="2" y="0"/>
                    <a:pt x="1" y="0"/>
                    <a:pt x="0" y="1"/>
                  </a:cubicBezTo>
                  <a:cubicBezTo>
                    <a:pt x="0" y="1"/>
                    <a:pt x="0" y="2"/>
                    <a:pt x="0" y="2"/>
                  </a:cubicBezTo>
                  <a:cubicBezTo>
                    <a:pt x="0" y="3"/>
                    <a:pt x="1" y="4"/>
                    <a:pt x="2" y="4"/>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6" name="Freeform 502">
              <a:extLst>
                <a:ext uri="{FF2B5EF4-FFF2-40B4-BE49-F238E27FC236}">
                  <a16:creationId xmlns:a16="http://schemas.microsoft.com/office/drawing/2014/main" id="{6D3AD6D7-8797-45D9-AC19-B80D523763EF}"/>
                </a:ext>
              </a:extLst>
            </p:cNvPr>
            <p:cNvSpPr>
              <a:spLocks/>
            </p:cNvSpPr>
            <p:nvPr/>
          </p:nvSpPr>
          <p:spPr bwMode="auto">
            <a:xfrm>
              <a:off x="1146176" y="1881188"/>
              <a:ext cx="171450" cy="325438"/>
            </a:xfrm>
            <a:custGeom>
              <a:avLst/>
              <a:gdLst/>
              <a:ahLst/>
              <a:cxnLst>
                <a:cxn ang="0">
                  <a:pos x="69" y="168"/>
                </a:cxn>
                <a:cxn ang="0">
                  <a:pos x="1" y="205"/>
                </a:cxn>
                <a:cxn ang="0">
                  <a:pos x="1" y="205"/>
                </a:cxn>
                <a:cxn ang="0">
                  <a:pos x="1" y="58"/>
                </a:cxn>
                <a:cxn ang="0">
                  <a:pos x="0" y="58"/>
                </a:cxn>
                <a:cxn ang="0">
                  <a:pos x="108" y="0"/>
                </a:cxn>
                <a:cxn ang="0">
                  <a:pos x="108" y="146"/>
                </a:cxn>
                <a:cxn ang="0">
                  <a:pos x="89" y="158"/>
                </a:cxn>
              </a:cxnLst>
              <a:rect l="0" t="0" r="r" b="b"/>
              <a:pathLst>
                <a:path w="108" h="205">
                  <a:moveTo>
                    <a:pt x="69" y="168"/>
                  </a:moveTo>
                  <a:lnTo>
                    <a:pt x="1" y="205"/>
                  </a:lnTo>
                  <a:lnTo>
                    <a:pt x="1" y="205"/>
                  </a:lnTo>
                  <a:lnTo>
                    <a:pt x="1" y="58"/>
                  </a:lnTo>
                  <a:lnTo>
                    <a:pt x="0" y="58"/>
                  </a:lnTo>
                  <a:lnTo>
                    <a:pt x="108" y="0"/>
                  </a:lnTo>
                  <a:lnTo>
                    <a:pt x="108" y="146"/>
                  </a:lnTo>
                  <a:lnTo>
                    <a:pt x="89" y="158"/>
                  </a:ln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7" name="Freeform 503">
              <a:extLst>
                <a:ext uri="{FF2B5EF4-FFF2-40B4-BE49-F238E27FC236}">
                  <a16:creationId xmlns:a16="http://schemas.microsoft.com/office/drawing/2014/main" id="{2D1F9A7C-CD1A-4F88-B673-8028B21E4D91}"/>
                </a:ext>
              </a:extLst>
            </p:cNvPr>
            <p:cNvSpPr>
              <a:spLocks/>
            </p:cNvSpPr>
            <p:nvPr/>
          </p:nvSpPr>
          <p:spPr bwMode="auto">
            <a:xfrm>
              <a:off x="957263" y="2060575"/>
              <a:ext cx="9525" cy="11113"/>
            </a:xfrm>
            <a:custGeom>
              <a:avLst/>
              <a:gdLst/>
              <a:ahLst/>
              <a:cxnLst>
                <a:cxn ang="0">
                  <a:pos x="1" y="3"/>
                </a:cxn>
                <a:cxn ang="0">
                  <a:pos x="2" y="0"/>
                </a:cxn>
                <a:cxn ang="0">
                  <a:pos x="5" y="2"/>
                </a:cxn>
                <a:cxn ang="0">
                  <a:pos x="3" y="5"/>
                </a:cxn>
                <a:cxn ang="0">
                  <a:pos x="1" y="3"/>
                </a:cxn>
              </a:cxnLst>
              <a:rect l="0" t="0" r="r" b="b"/>
              <a:pathLst>
                <a:path w="5" h="6">
                  <a:moveTo>
                    <a:pt x="1" y="3"/>
                  </a:moveTo>
                  <a:cubicBezTo>
                    <a:pt x="0" y="2"/>
                    <a:pt x="1" y="1"/>
                    <a:pt x="2" y="0"/>
                  </a:cubicBezTo>
                  <a:cubicBezTo>
                    <a:pt x="3" y="0"/>
                    <a:pt x="5" y="1"/>
                    <a:pt x="5" y="2"/>
                  </a:cubicBezTo>
                  <a:cubicBezTo>
                    <a:pt x="5" y="4"/>
                    <a:pt x="5" y="5"/>
                    <a:pt x="3" y="5"/>
                  </a:cubicBezTo>
                  <a:cubicBezTo>
                    <a:pt x="2" y="6"/>
                    <a:pt x="1" y="5"/>
                    <a:pt x="1" y="3"/>
                  </a:cubicBezTo>
                  <a:close/>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8" name="Freeform 504">
              <a:extLst>
                <a:ext uri="{FF2B5EF4-FFF2-40B4-BE49-F238E27FC236}">
                  <a16:creationId xmlns:a16="http://schemas.microsoft.com/office/drawing/2014/main" id="{681D89E7-E3DB-4498-BDD5-10B3145FD677}"/>
                </a:ext>
              </a:extLst>
            </p:cNvPr>
            <p:cNvSpPr>
              <a:spLocks/>
            </p:cNvSpPr>
            <p:nvPr/>
          </p:nvSpPr>
          <p:spPr bwMode="auto">
            <a:xfrm>
              <a:off x="955676" y="2057400"/>
              <a:ext cx="14288" cy="19050"/>
            </a:xfrm>
            <a:custGeom>
              <a:avLst/>
              <a:gdLst/>
              <a:ahLst/>
              <a:cxnLst>
                <a:cxn ang="0">
                  <a:pos x="7" y="7"/>
                </a:cxn>
                <a:cxn ang="0">
                  <a:pos x="7" y="7"/>
                </a:cxn>
                <a:cxn ang="0">
                  <a:pos x="5" y="9"/>
                </a:cxn>
                <a:cxn ang="0">
                  <a:pos x="0" y="6"/>
                </a:cxn>
                <a:cxn ang="0">
                  <a:pos x="3" y="1"/>
                </a:cxn>
                <a:cxn ang="0">
                  <a:pos x="7" y="4"/>
                </a:cxn>
                <a:cxn ang="0">
                  <a:pos x="7" y="6"/>
                </a:cxn>
              </a:cxnLst>
              <a:rect l="0" t="0" r="r" b="b"/>
              <a:pathLst>
                <a:path w="7" h="10">
                  <a:moveTo>
                    <a:pt x="7" y="7"/>
                  </a:moveTo>
                  <a:cubicBezTo>
                    <a:pt x="7" y="7"/>
                    <a:pt x="7" y="7"/>
                    <a:pt x="7" y="7"/>
                  </a:cubicBezTo>
                  <a:cubicBezTo>
                    <a:pt x="6" y="8"/>
                    <a:pt x="6" y="9"/>
                    <a:pt x="5" y="9"/>
                  </a:cubicBezTo>
                  <a:cubicBezTo>
                    <a:pt x="3" y="10"/>
                    <a:pt x="1" y="8"/>
                    <a:pt x="0" y="6"/>
                  </a:cubicBezTo>
                  <a:cubicBezTo>
                    <a:pt x="0" y="3"/>
                    <a:pt x="1" y="1"/>
                    <a:pt x="3" y="1"/>
                  </a:cubicBezTo>
                  <a:cubicBezTo>
                    <a:pt x="5" y="0"/>
                    <a:pt x="7" y="2"/>
                    <a:pt x="7" y="4"/>
                  </a:cubicBezTo>
                  <a:cubicBezTo>
                    <a:pt x="7" y="5"/>
                    <a:pt x="7" y="5"/>
                    <a:pt x="7" y="6"/>
                  </a:cubicBezTo>
                </a:path>
              </a:pathLst>
            </a:custGeom>
            <a:solidFill>
              <a:schemeClr val="tx1"/>
            </a:solidFill>
            <a:ln w="12700" cap="rnd">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79" name="Freeform 505">
              <a:extLst>
                <a:ext uri="{FF2B5EF4-FFF2-40B4-BE49-F238E27FC236}">
                  <a16:creationId xmlns:a16="http://schemas.microsoft.com/office/drawing/2014/main" id="{0CEE75D7-19A4-4370-A178-55414D9DF2A4}"/>
                </a:ext>
              </a:extLst>
            </p:cNvPr>
            <p:cNvSpPr>
              <a:spLocks/>
            </p:cNvSpPr>
            <p:nvPr/>
          </p:nvSpPr>
          <p:spPr bwMode="auto">
            <a:xfrm>
              <a:off x="944563" y="2000250"/>
              <a:ext cx="42863" cy="25400"/>
            </a:xfrm>
            <a:custGeom>
              <a:avLst/>
              <a:gdLst/>
              <a:ahLst/>
              <a:cxnLst>
                <a:cxn ang="0">
                  <a:pos x="1" y="2"/>
                </a:cxn>
                <a:cxn ang="0">
                  <a:pos x="21" y="13"/>
                </a:cxn>
                <a:cxn ang="0">
                  <a:pos x="22" y="11"/>
                </a:cxn>
                <a:cxn ang="0">
                  <a:pos x="21" y="11"/>
                </a:cxn>
                <a:cxn ang="0">
                  <a:pos x="1" y="0"/>
                </a:cxn>
                <a:cxn ang="0">
                  <a:pos x="0" y="0"/>
                </a:cxn>
                <a:cxn ang="0">
                  <a:pos x="0" y="1"/>
                </a:cxn>
                <a:cxn ang="0">
                  <a:pos x="1" y="2"/>
                </a:cxn>
              </a:cxnLst>
              <a:rect l="0" t="0" r="r" b="b"/>
              <a:pathLst>
                <a:path w="22" h="13">
                  <a:moveTo>
                    <a:pt x="1" y="2"/>
                  </a:moveTo>
                  <a:cubicBezTo>
                    <a:pt x="7" y="7"/>
                    <a:pt x="14" y="11"/>
                    <a:pt x="21" y="13"/>
                  </a:cubicBezTo>
                  <a:cubicBezTo>
                    <a:pt x="22" y="13"/>
                    <a:pt x="22" y="12"/>
                    <a:pt x="22" y="11"/>
                  </a:cubicBezTo>
                  <a:cubicBezTo>
                    <a:pt x="22" y="11"/>
                    <a:pt x="22" y="11"/>
                    <a:pt x="21" y="11"/>
                  </a:cubicBezTo>
                  <a:cubicBezTo>
                    <a:pt x="14" y="9"/>
                    <a:pt x="7" y="5"/>
                    <a:pt x="1" y="0"/>
                  </a:cubicBezTo>
                  <a:cubicBezTo>
                    <a:pt x="1" y="0"/>
                    <a:pt x="0" y="0"/>
                    <a:pt x="0" y="0"/>
                  </a:cubicBezTo>
                  <a:cubicBezTo>
                    <a:pt x="0" y="0"/>
                    <a:pt x="0" y="1"/>
                    <a:pt x="0" y="1"/>
                  </a:cubicBezTo>
                  <a:cubicBezTo>
                    <a:pt x="0" y="1"/>
                    <a:pt x="0" y="2"/>
                    <a:pt x="1"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80" name="Freeform 506">
              <a:extLst>
                <a:ext uri="{FF2B5EF4-FFF2-40B4-BE49-F238E27FC236}">
                  <a16:creationId xmlns:a16="http://schemas.microsoft.com/office/drawing/2014/main" id="{996D2E81-C7F3-4C25-8DED-454068B7FBCD}"/>
                </a:ext>
              </a:extLst>
            </p:cNvPr>
            <p:cNvSpPr>
              <a:spLocks/>
            </p:cNvSpPr>
            <p:nvPr/>
          </p:nvSpPr>
          <p:spPr bwMode="auto">
            <a:xfrm>
              <a:off x="944563" y="2000250"/>
              <a:ext cx="42863" cy="25400"/>
            </a:xfrm>
            <a:custGeom>
              <a:avLst/>
              <a:gdLst/>
              <a:ahLst/>
              <a:cxnLst>
                <a:cxn ang="0">
                  <a:pos x="1" y="2"/>
                </a:cxn>
                <a:cxn ang="0">
                  <a:pos x="21" y="13"/>
                </a:cxn>
                <a:cxn ang="0">
                  <a:pos x="22" y="11"/>
                </a:cxn>
                <a:cxn ang="0">
                  <a:pos x="21" y="11"/>
                </a:cxn>
                <a:cxn ang="0">
                  <a:pos x="1" y="0"/>
                </a:cxn>
                <a:cxn ang="0">
                  <a:pos x="0" y="0"/>
                </a:cxn>
                <a:cxn ang="0">
                  <a:pos x="0" y="1"/>
                </a:cxn>
                <a:cxn ang="0">
                  <a:pos x="1" y="2"/>
                </a:cxn>
              </a:cxnLst>
              <a:rect l="0" t="0" r="r" b="b"/>
              <a:pathLst>
                <a:path w="22" h="13">
                  <a:moveTo>
                    <a:pt x="1" y="2"/>
                  </a:moveTo>
                  <a:cubicBezTo>
                    <a:pt x="7" y="7"/>
                    <a:pt x="14" y="11"/>
                    <a:pt x="21" y="13"/>
                  </a:cubicBezTo>
                  <a:cubicBezTo>
                    <a:pt x="22" y="13"/>
                    <a:pt x="22" y="12"/>
                    <a:pt x="22" y="11"/>
                  </a:cubicBezTo>
                  <a:cubicBezTo>
                    <a:pt x="22" y="11"/>
                    <a:pt x="22" y="11"/>
                    <a:pt x="21" y="11"/>
                  </a:cubicBezTo>
                  <a:cubicBezTo>
                    <a:pt x="14" y="9"/>
                    <a:pt x="7" y="5"/>
                    <a:pt x="1" y="0"/>
                  </a:cubicBezTo>
                  <a:cubicBezTo>
                    <a:pt x="1" y="0"/>
                    <a:pt x="0" y="0"/>
                    <a:pt x="0" y="0"/>
                  </a:cubicBezTo>
                  <a:cubicBezTo>
                    <a:pt x="0" y="0"/>
                    <a:pt x="0" y="1"/>
                    <a:pt x="0" y="1"/>
                  </a:cubicBezTo>
                  <a:cubicBezTo>
                    <a:pt x="0" y="1"/>
                    <a:pt x="0" y="2"/>
                    <a:pt x="1"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81" name="Freeform 507">
              <a:extLst>
                <a:ext uri="{FF2B5EF4-FFF2-40B4-BE49-F238E27FC236}">
                  <a16:creationId xmlns:a16="http://schemas.microsoft.com/office/drawing/2014/main" id="{DFDC2B91-91EB-41C8-962B-04439341806F}"/>
                </a:ext>
              </a:extLst>
            </p:cNvPr>
            <p:cNvSpPr>
              <a:spLocks/>
            </p:cNvSpPr>
            <p:nvPr/>
          </p:nvSpPr>
          <p:spPr bwMode="auto">
            <a:xfrm>
              <a:off x="944563" y="2016125"/>
              <a:ext cx="42863" cy="33338"/>
            </a:xfrm>
            <a:custGeom>
              <a:avLst/>
              <a:gdLst/>
              <a:ahLst/>
              <a:cxnLst>
                <a:cxn ang="0">
                  <a:pos x="0" y="0"/>
                </a:cxn>
                <a:cxn ang="0">
                  <a:pos x="0" y="5"/>
                </a:cxn>
                <a:cxn ang="0">
                  <a:pos x="22" y="17"/>
                </a:cxn>
                <a:cxn ang="0">
                  <a:pos x="22" y="11"/>
                </a:cxn>
                <a:cxn ang="0">
                  <a:pos x="0" y="0"/>
                </a:cxn>
              </a:cxnLst>
              <a:rect l="0" t="0" r="r" b="b"/>
              <a:pathLst>
                <a:path w="22" h="17">
                  <a:moveTo>
                    <a:pt x="0" y="0"/>
                  </a:moveTo>
                  <a:cubicBezTo>
                    <a:pt x="0" y="5"/>
                    <a:pt x="0" y="5"/>
                    <a:pt x="0" y="5"/>
                  </a:cubicBezTo>
                  <a:cubicBezTo>
                    <a:pt x="6" y="11"/>
                    <a:pt x="14" y="15"/>
                    <a:pt x="22" y="17"/>
                  </a:cubicBezTo>
                  <a:cubicBezTo>
                    <a:pt x="22" y="11"/>
                    <a:pt x="22" y="11"/>
                    <a:pt x="22" y="11"/>
                  </a:cubicBezTo>
                  <a:cubicBezTo>
                    <a:pt x="14" y="9"/>
                    <a:pt x="6" y="5"/>
                    <a:pt x="0" y="0"/>
                  </a:cubicBezTo>
                  <a:close/>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82" name="Freeform 508">
              <a:extLst>
                <a:ext uri="{FF2B5EF4-FFF2-40B4-BE49-F238E27FC236}">
                  <a16:creationId xmlns:a16="http://schemas.microsoft.com/office/drawing/2014/main" id="{6B9CD7B5-C632-42BC-B7B5-EA32BC9365EC}"/>
                </a:ext>
              </a:extLst>
            </p:cNvPr>
            <p:cNvSpPr>
              <a:spLocks/>
            </p:cNvSpPr>
            <p:nvPr/>
          </p:nvSpPr>
          <p:spPr bwMode="auto">
            <a:xfrm>
              <a:off x="935038" y="1922463"/>
              <a:ext cx="98425" cy="217488"/>
            </a:xfrm>
            <a:custGeom>
              <a:avLst/>
              <a:gdLst/>
              <a:ahLst/>
              <a:cxnLst>
                <a:cxn ang="0">
                  <a:pos x="32" y="112"/>
                </a:cxn>
                <a:cxn ang="0">
                  <a:pos x="0" y="97"/>
                </a:cxn>
                <a:cxn ang="0">
                  <a:pos x="0" y="97"/>
                </a:cxn>
                <a:cxn ang="0">
                  <a:pos x="0" y="28"/>
                </a:cxn>
                <a:cxn ang="0">
                  <a:pos x="0" y="28"/>
                </a:cxn>
                <a:cxn ang="0">
                  <a:pos x="51" y="0"/>
                </a:cxn>
                <a:cxn ang="0">
                  <a:pos x="51" y="0"/>
                </a:cxn>
              </a:cxnLst>
              <a:rect l="0" t="0" r="r" b="b"/>
              <a:pathLst>
                <a:path w="51" h="112">
                  <a:moveTo>
                    <a:pt x="32" y="112"/>
                  </a:moveTo>
                  <a:cubicBezTo>
                    <a:pt x="22" y="112"/>
                    <a:pt x="5" y="105"/>
                    <a:pt x="0" y="97"/>
                  </a:cubicBezTo>
                  <a:cubicBezTo>
                    <a:pt x="0" y="97"/>
                    <a:pt x="0" y="97"/>
                    <a:pt x="0" y="97"/>
                  </a:cubicBezTo>
                  <a:cubicBezTo>
                    <a:pt x="0" y="28"/>
                    <a:pt x="0" y="28"/>
                    <a:pt x="0" y="28"/>
                  </a:cubicBezTo>
                  <a:cubicBezTo>
                    <a:pt x="0" y="28"/>
                    <a:pt x="0" y="28"/>
                    <a:pt x="0" y="28"/>
                  </a:cubicBezTo>
                  <a:cubicBezTo>
                    <a:pt x="51" y="0"/>
                    <a:pt x="51" y="0"/>
                    <a:pt x="51" y="0"/>
                  </a:cubicBezTo>
                  <a:cubicBezTo>
                    <a:pt x="51" y="0"/>
                    <a:pt x="51" y="0"/>
                    <a:pt x="51" y="0"/>
                  </a:cubicBez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83" name="Freeform 509">
              <a:extLst>
                <a:ext uri="{FF2B5EF4-FFF2-40B4-BE49-F238E27FC236}">
                  <a16:creationId xmlns:a16="http://schemas.microsoft.com/office/drawing/2014/main" id="{AF1BCEAB-9681-4FB2-9CEE-1498290937FD}"/>
                </a:ext>
              </a:extLst>
            </p:cNvPr>
            <p:cNvSpPr>
              <a:spLocks/>
            </p:cNvSpPr>
            <p:nvPr/>
          </p:nvSpPr>
          <p:spPr bwMode="auto">
            <a:xfrm>
              <a:off x="935038" y="1978025"/>
              <a:ext cx="61913" cy="31750"/>
            </a:xfrm>
            <a:custGeom>
              <a:avLst/>
              <a:gdLst/>
              <a:ahLst/>
              <a:cxnLst>
                <a:cxn ang="0">
                  <a:pos x="0" y="0"/>
                </a:cxn>
                <a:cxn ang="0">
                  <a:pos x="32" y="17"/>
                </a:cxn>
              </a:cxnLst>
              <a:rect l="0" t="0" r="r" b="b"/>
              <a:pathLst>
                <a:path w="32" h="17">
                  <a:moveTo>
                    <a:pt x="0" y="0"/>
                  </a:moveTo>
                  <a:cubicBezTo>
                    <a:pt x="5" y="9"/>
                    <a:pt x="22" y="17"/>
                    <a:pt x="32" y="17"/>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84" name="Freeform 510">
              <a:extLst>
                <a:ext uri="{FF2B5EF4-FFF2-40B4-BE49-F238E27FC236}">
                  <a16:creationId xmlns:a16="http://schemas.microsoft.com/office/drawing/2014/main" id="{E324C70C-2FAC-406F-A141-591000990A5F}"/>
                </a:ext>
              </a:extLst>
            </p:cNvPr>
            <p:cNvSpPr>
              <a:spLocks/>
            </p:cNvSpPr>
            <p:nvPr/>
          </p:nvSpPr>
          <p:spPr bwMode="auto">
            <a:xfrm>
              <a:off x="942976" y="2098675"/>
              <a:ext cx="46038" cy="25400"/>
            </a:xfrm>
            <a:custGeom>
              <a:avLst/>
              <a:gdLst/>
              <a:ahLst/>
              <a:cxnLst>
                <a:cxn ang="0">
                  <a:pos x="0" y="3"/>
                </a:cxn>
                <a:cxn ang="0">
                  <a:pos x="23" y="13"/>
                </a:cxn>
                <a:cxn ang="0">
                  <a:pos x="24" y="11"/>
                </a:cxn>
                <a:cxn ang="0">
                  <a:pos x="23" y="11"/>
                </a:cxn>
                <a:cxn ang="0">
                  <a:pos x="1" y="0"/>
                </a:cxn>
                <a:cxn ang="0">
                  <a:pos x="0" y="1"/>
                </a:cxn>
                <a:cxn ang="0">
                  <a:pos x="0" y="1"/>
                </a:cxn>
                <a:cxn ang="0">
                  <a:pos x="0" y="3"/>
                </a:cxn>
              </a:cxnLst>
              <a:rect l="0" t="0" r="r" b="b"/>
              <a:pathLst>
                <a:path w="24" h="13">
                  <a:moveTo>
                    <a:pt x="0" y="3"/>
                  </a:moveTo>
                  <a:cubicBezTo>
                    <a:pt x="7" y="8"/>
                    <a:pt x="15" y="11"/>
                    <a:pt x="23" y="13"/>
                  </a:cubicBezTo>
                  <a:cubicBezTo>
                    <a:pt x="24" y="13"/>
                    <a:pt x="24" y="12"/>
                    <a:pt x="24" y="11"/>
                  </a:cubicBezTo>
                  <a:cubicBezTo>
                    <a:pt x="24" y="11"/>
                    <a:pt x="24" y="11"/>
                    <a:pt x="23" y="11"/>
                  </a:cubicBezTo>
                  <a:cubicBezTo>
                    <a:pt x="15" y="9"/>
                    <a:pt x="7" y="6"/>
                    <a:pt x="1" y="0"/>
                  </a:cubicBezTo>
                  <a:cubicBezTo>
                    <a:pt x="0" y="0"/>
                    <a:pt x="0" y="0"/>
                    <a:pt x="0" y="1"/>
                  </a:cubicBezTo>
                  <a:cubicBezTo>
                    <a:pt x="0" y="1"/>
                    <a:pt x="0" y="1"/>
                    <a:pt x="0" y="1"/>
                  </a:cubicBezTo>
                  <a:cubicBezTo>
                    <a:pt x="0" y="2"/>
                    <a:pt x="0" y="2"/>
                    <a:pt x="0" y="3"/>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85" name="Freeform 511">
              <a:extLst>
                <a:ext uri="{FF2B5EF4-FFF2-40B4-BE49-F238E27FC236}">
                  <a16:creationId xmlns:a16="http://schemas.microsoft.com/office/drawing/2014/main" id="{4E0AC1DE-8A53-43E0-BEF2-D7CB4F53F33F}"/>
                </a:ext>
              </a:extLst>
            </p:cNvPr>
            <p:cNvSpPr>
              <a:spLocks/>
            </p:cNvSpPr>
            <p:nvPr/>
          </p:nvSpPr>
          <p:spPr bwMode="auto">
            <a:xfrm>
              <a:off x="942976" y="2093913"/>
              <a:ext cx="46038" cy="25400"/>
            </a:xfrm>
            <a:custGeom>
              <a:avLst/>
              <a:gdLst/>
              <a:ahLst/>
              <a:cxnLst>
                <a:cxn ang="0">
                  <a:pos x="0" y="2"/>
                </a:cxn>
                <a:cxn ang="0">
                  <a:pos x="23" y="13"/>
                </a:cxn>
                <a:cxn ang="0">
                  <a:pos x="24" y="11"/>
                </a:cxn>
                <a:cxn ang="0">
                  <a:pos x="23" y="10"/>
                </a:cxn>
                <a:cxn ang="0">
                  <a:pos x="1" y="0"/>
                </a:cxn>
                <a:cxn ang="0">
                  <a:pos x="0" y="0"/>
                </a:cxn>
                <a:cxn ang="0">
                  <a:pos x="0" y="1"/>
                </a:cxn>
                <a:cxn ang="0">
                  <a:pos x="0" y="2"/>
                </a:cxn>
              </a:cxnLst>
              <a:rect l="0" t="0" r="r" b="b"/>
              <a:pathLst>
                <a:path w="24" h="13">
                  <a:moveTo>
                    <a:pt x="0" y="2"/>
                  </a:moveTo>
                  <a:cubicBezTo>
                    <a:pt x="7" y="8"/>
                    <a:pt x="15" y="11"/>
                    <a:pt x="23" y="13"/>
                  </a:cubicBezTo>
                  <a:cubicBezTo>
                    <a:pt x="24" y="13"/>
                    <a:pt x="24" y="12"/>
                    <a:pt x="24" y="11"/>
                  </a:cubicBezTo>
                  <a:cubicBezTo>
                    <a:pt x="24" y="11"/>
                    <a:pt x="24" y="10"/>
                    <a:pt x="23" y="10"/>
                  </a:cubicBezTo>
                  <a:cubicBezTo>
                    <a:pt x="15" y="9"/>
                    <a:pt x="7" y="6"/>
                    <a:pt x="1" y="0"/>
                  </a:cubicBezTo>
                  <a:cubicBezTo>
                    <a:pt x="0" y="0"/>
                    <a:pt x="0" y="0"/>
                    <a:pt x="0" y="0"/>
                  </a:cubicBezTo>
                  <a:cubicBezTo>
                    <a:pt x="0" y="1"/>
                    <a:pt x="0" y="1"/>
                    <a:pt x="0" y="1"/>
                  </a:cubicBezTo>
                  <a:cubicBezTo>
                    <a:pt x="0" y="2"/>
                    <a:pt x="0" y="2"/>
                    <a:pt x="0"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86" name="Freeform 512">
              <a:extLst>
                <a:ext uri="{FF2B5EF4-FFF2-40B4-BE49-F238E27FC236}">
                  <a16:creationId xmlns:a16="http://schemas.microsoft.com/office/drawing/2014/main" id="{613ECE7E-8618-49A3-9B7C-FAC08668CC38}"/>
                </a:ext>
              </a:extLst>
            </p:cNvPr>
            <p:cNvSpPr>
              <a:spLocks/>
            </p:cNvSpPr>
            <p:nvPr/>
          </p:nvSpPr>
          <p:spPr bwMode="auto">
            <a:xfrm>
              <a:off x="942976" y="2087563"/>
              <a:ext cx="46038" cy="23813"/>
            </a:xfrm>
            <a:custGeom>
              <a:avLst/>
              <a:gdLst/>
              <a:ahLst/>
              <a:cxnLst>
                <a:cxn ang="0">
                  <a:pos x="0" y="2"/>
                </a:cxn>
                <a:cxn ang="0">
                  <a:pos x="23" y="12"/>
                </a:cxn>
                <a:cxn ang="0">
                  <a:pos x="24" y="11"/>
                </a:cxn>
                <a:cxn ang="0">
                  <a:pos x="23" y="10"/>
                </a:cxn>
                <a:cxn ang="0">
                  <a:pos x="1" y="0"/>
                </a:cxn>
                <a:cxn ang="0">
                  <a:pos x="0" y="0"/>
                </a:cxn>
                <a:cxn ang="0">
                  <a:pos x="0" y="1"/>
                </a:cxn>
                <a:cxn ang="0">
                  <a:pos x="0" y="2"/>
                </a:cxn>
              </a:cxnLst>
              <a:rect l="0" t="0" r="r" b="b"/>
              <a:pathLst>
                <a:path w="24" h="12">
                  <a:moveTo>
                    <a:pt x="0" y="2"/>
                  </a:moveTo>
                  <a:cubicBezTo>
                    <a:pt x="7" y="7"/>
                    <a:pt x="15" y="11"/>
                    <a:pt x="23" y="12"/>
                  </a:cubicBezTo>
                  <a:cubicBezTo>
                    <a:pt x="24" y="12"/>
                    <a:pt x="24" y="12"/>
                    <a:pt x="24" y="11"/>
                  </a:cubicBezTo>
                  <a:cubicBezTo>
                    <a:pt x="24" y="10"/>
                    <a:pt x="24" y="10"/>
                    <a:pt x="23" y="10"/>
                  </a:cubicBezTo>
                  <a:cubicBezTo>
                    <a:pt x="15" y="9"/>
                    <a:pt x="7" y="5"/>
                    <a:pt x="1" y="0"/>
                  </a:cubicBezTo>
                  <a:cubicBezTo>
                    <a:pt x="0" y="0"/>
                    <a:pt x="0" y="0"/>
                    <a:pt x="0" y="0"/>
                  </a:cubicBezTo>
                  <a:cubicBezTo>
                    <a:pt x="0" y="1"/>
                    <a:pt x="0" y="1"/>
                    <a:pt x="0" y="1"/>
                  </a:cubicBezTo>
                  <a:cubicBezTo>
                    <a:pt x="0" y="1"/>
                    <a:pt x="0" y="2"/>
                    <a:pt x="0" y="2"/>
                  </a:cubicBezTo>
                </a:path>
              </a:pathLst>
            </a:custGeom>
            <a:solidFill>
              <a:schemeClr val="tx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87" name="Freeform 513">
              <a:extLst>
                <a:ext uri="{FF2B5EF4-FFF2-40B4-BE49-F238E27FC236}">
                  <a16:creationId xmlns:a16="http://schemas.microsoft.com/office/drawing/2014/main" id="{71B58C91-09E9-434E-9D64-1849553C648B}"/>
                </a:ext>
              </a:extLst>
            </p:cNvPr>
            <p:cNvSpPr>
              <a:spLocks/>
            </p:cNvSpPr>
            <p:nvPr/>
          </p:nvSpPr>
          <p:spPr bwMode="auto">
            <a:xfrm>
              <a:off x="996951" y="1990725"/>
              <a:ext cx="36513" cy="149225"/>
            </a:xfrm>
            <a:custGeom>
              <a:avLst/>
              <a:gdLst/>
              <a:ahLst/>
              <a:cxnLst>
                <a:cxn ang="0">
                  <a:pos x="23" y="82"/>
                </a:cxn>
                <a:cxn ang="0">
                  <a:pos x="1" y="94"/>
                </a:cxn>
                <a:cxn ang="0">
                  <a:pos x="0" y="94"/>
                </a:cxn>
                <a:cxn ang="0">
                  <a:pos x="0" y="12"/>
                </a:cxn>
                <a:cxn ang="0">
                  <a:pos x="0" y="12"/>
                </a:cxn>
                <a:cxn ang="0">
                  <a:pos x="23" y="0"/>
                </a:cxn>
              </a:cxnLst>
              <a:rect l="0" t="0" r="r" b="b"/>
              <a:pathLst>
                <a:path w="23" h="94">
                  <a:moveTo>
                    <a:pt x="23" y="82"/>
                  </a:moveTo>
                  <a:lnTo>
                    <a:pt x="1" y="94"/>
                  </a:lnTo>
                  <a:lnTo>
                    <a:pt x="0" y="94"/>
                  </a:lnTo>
                  <a:lnTo>
                    <a:pt x="0" y="12"/>
                  </a:lnTo>
                  <a:lnTo>
                    <a:pt x="0" y="12"/>
                  </a:lnTo>
                  <a:lnTo>
                    <a:pt x="23" y="0"/>
                  </a:lnTo>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grpSp>
      <p:grpSp>
        <p:nvGrpSpPr>
          <p:cNvPr id="88" name="Groupe 537">
            <a:extLst>
              <a:ext uri="{FF2B5EF4-FFF2-40B4-BE49-F238E27FC236}">
                <a16:creationId xmlns:a16="http://schemas.microsoft.com/office/drawing/2014/main" id="{9F92D56B-8F1B-4A09-877A-901B6B3E574C}"/>
              </a:ext>
            </a:extLst>
          </p:cNvPr>
          <p:cNvGrpSpPr/>
          <p:nvPr/>
        </p:nvGrpSpPr>
        <p:grpSpPr>
          <a:xfrm>
            <a:off x="4280068" y="6424270"/>
            <a:ext cx="244475" cy="317501"/>
            <a:chOff x="3733801" y="752475"/>
            <a:chExt cx="244475" cy="317501"/>
          </a:xfrm>
        </p:grpSpPr>
        <p:sp>
          <p:nvSpPr>
            <p:cNvPr id="89" name="Freeform 248">
              <a:extLst>
                <a:ext uri="{FF2B5EF4-FFF2-40B4-BE49-F238E27FC236}">
                  <a16:creationId xmlns:a16="http://schemas.microsoft.com/office/drawing/2014/main" id="{0EBA31F0-6C06-4F9C-801C-39EDA8E3A2FE}"/>
                </a:ext>
              </a:extLst>
            </p:cNvPr>
            <p:cNvSpPr>
              <a:spLocks/>
            </p:cNvSpPr>
            <p:nvPr/>
          </p:nvSpPr>
          <p:spPr bwMode="auto">
            <a:xfrm>
              <a:off x="3733801" y="752475"/>
              <a:ext cx="244475" cy="92075"/>
            </a:xfrm>
            <a:custGeom>
              <a:avLst/>
              <a:gdLst/>
              <a:ahLst/>
              <a:cxnLst>
                <a:cxn ang="0">
                  <a:pos x="15" y="11"/>
                </a:cxn>
                <a:cxn ang="0">
                  <a:pos x="94" y="7"/>
                </a:cxn>
                <a:cxn ang="0">
                  <a:pos x="108" y="35"/>
                </a:cxn>
                <a:cxn ang="0">
                  <a:pos x="28" y="40"/>
                </a:cxn>
                <a:cxn ang="0">
                  <a:pos x="6" y="18"/>
                </a:cxn>
              </a:cxnLst>
              <a:rect l="0" t="0" r="r" b="b"/>
              <a:pathLst>
                <a:path w="126" h="47">
                  <a:moveTo>
                    <a:pt x="15" y="11"/>
                  </a:moveTo>
                  <a:cubicBezTo>
                    <a:pt x="33" y="2"/>
                    <a:pt x="69" y="0"/>
                    <a:pt x="94" y="7"/>
                  </a:cubicBezTo>
                  <a:cubicBezTo>
                    <a:pt x="120" y="13"/>
                    <a:pt x="126" y="26"/>
                    <a:pt x="108" y="35"/>
                  </a:cubicBezTo>
                  <a:cubicBezTo>
                    <a:pt x="89" y="44"/>
                    <a:pt x="54" y="47"/>
                    <a:pt x="28" y="40"/>
                  </a:cubicBezTo>
                  <a:cubicBezTo>
                    <a:pt x="9" y="35"/>
                    <a:pt x="0" y="26"/>
                    <a:pt x="6" y="18"/>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90" name="Freeform 249">
              <a:extLst>
                <a:ext uri="{FF2B5EF4-FFF2-40B4-BE49-F238E27FC236}">
                  <a16:creationId xmlns:a16="http://schemas.microsoft.com/office/drawing/2014/main" id="{A9592762-AF27-42D1-8583-8861CA209443}"/>
                </a:ext>
              </a:extLst>
            </p:cNvPr>
            <p:cNvSpPr>
              <a:spLocks/>
            </p:cNvSpPr>
            <p:nvPr/>
          </p:nvSpPr>
          <p:spPr bwMode="auto">
            <a:xfrm>
              <a:off x="3741738" y="84772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91" name="Freeform 250">
              <a:extLst>
                <a:ext uri="{FF2B5EF4-FFF2-40B4-BE49-F238E27FC236}">
                  <a16:creationId xmlns:a16="http://schemas.microsoft.com/office/drawing/2014/main" id="{68AFFB3E-1FF0-4F9F-9F09-DB182B21CC1B}"/>
                </a:ext>
              </a:extLst>
            </p:cNvPr>
            <p:cNvSpPr>
              <a:spLocks/>
            </p:cNvSpPr>
            <p:nvPr/>
          </p:nvSpPr>
          <p:spPr bwMode="auto">
            <a:xfrm>
              <a:off x="3741738" y="908050"/>
              <a:ext cx="220663" cy="39688"/>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20"/>
                    <a:pt x="1" y="11"/>
                    <a:pt x="0" y="0"/>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92" name="Freeform 251">
              <a:extLst>
                <a:ext uri="{FF2B5EF4-FFF2-40B4-BE49-F238E27FC236}">
                  <a16:creationId xmlns:a16="http://schemas.microsoft.com/office/drawing/2014/main" id="{C6AC22A9-764E-4910-923D-DD41476F373B}"/>
                </a:ext>
              </a:extLst>
            </p:cNvPr>
            <p:cNvSpPr>
              <a:spLocks/>
            </p:cNvSpPr>
            <p:nvPr/>
          </p:nvSpPr>
          <p:spPr bwMode="auto">
            <a:xfrm>
              <a:off x="3741738" y="857250"/>
              <a:ext cx="220663" cy="38100"/>
            </a:xfrm>
            <a:custGeom>
              <a:avLst/>
              <a:gdLst/>
              <a:ahLst/>
              <a:cxnLst>
                <a:cxn ang="0">
                  <a:pos x="114" y="0"/>
                </a:cxn>
                <a:cxn ang="0">
                  <a:pos x="54" y="20"/>
                </a:cxn>
                <a:cxn ang="0">
                  <a:pos x="0" y="0"/>
                </a:cxn>
              </a:cxnLst>
              <a:rect l="0" t="0" r="r" b="b"/>
              <a:pathLst>
                <a:path w="114" h="20">
                  <a:moveTo>
                    <a:pt x="114" y="0"/>
                  </a:moveTo>
                  <a:cubicBezTo>
                    <a:pt x="113" y="12"/>
                    <a:pt x="86" y="20"/>
                    <a:pt x="54" y="20"/>
                  </a:cubicBezTo>
                  <a:cubicBezTo>
                    <a:pt x="25" y="19"/>
                    <a:pt x="1" y="11"/>
                    <a:pt x="0" y="0"/>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93" name="Freeform 252">
              <a:extLst>
                <a:ext uri="{FF2B5EF4-FFF2-40B4-BE49-F238E27FC236}">
                  <a16:creationId xmlns:a16="http://schemas.microsoft.com/office/drawing/2014/main" id="{A764560E-6807-4EF3-90B7-DCD09FA82251}"/>
                </a:ext>
              </a:extLst>
            </p:cNvPr>
            <p:cNvSpPr>
              <a:spLocks/>
            </p:cNvSpPr>
            <p:nvPr/>
          </p:nvSpPr>
          <p:spPr bwMode="auto">
            <a:xfrm>
              <a:off x="3741738" y="968375"/>
              <a:ext cx="220663" cy="38100"/>
            </a:xfrm>
            <a:custGeom>
              <a:avLst/>
              <a:gdLst/>
              <a:ahLst/>
              <a:cxnLst>
                <a:cxn ang="0">
                  <a:pos x="114" y="0"/>
                </a:cxn>
                <a:cxn ang="0">
                  <a:pos x="54" y="19"/>
                </a:cxn>
                <a:cxn ang="0">
                  <a:pos x="0" y="0"/>
                </a:cxn>
              </a:cxnLst>
              <a:rect l="0" t="0" r="r" b="b"/>
              <a:pathLst>
                <a:path w="114" h="20">
                  <a:moveTo>
                    <a:pt x="114" y="0"/>
                  </a:moveTo>
                  <a:cubicBezTo>
                    <a:pt x="113" y="11"/>
                    <a:pt x="86" y="20"/>
                    <a:pt x="54" y="19"/>
                  </a:cubicBezTo>
                  <a:cubicBezTo>
                    <a:pt x="25" y="19"/>
                    <a:pt x="1" y="10"/>
                    <a:pt x="0" y="0"/>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94" name="Freeform 253">
              <a:extLst>
                <a:ext uri="{FF2B5EF4-FFF2-40B4-BE49-F238E27FC236}">
                  <a16:creationId xmlns:a16="http://schemas.microsoft.com/office/drawing/2014/main" id="{98B2D266-5C59-477E-B9C8-0334719CA75C}"/>
                </a:ext>
              </a:extLst>
            </p:cNvPr>
            <p:cNvSpPr>
              <a:spLocks/>
            </p:cNvSpPr>
            <p:nvPr/>
          </p:nvSpPr>
          <p:spPr bwMode="auto">
            <a:xfrm>
              <a:off x="3741738" y="917575"/>
              <a:ext cx="220663" cy="41275"/>
            </a:xfrm>
            <a:custGeom>
              <a:avLst/>
              <a:gdLst/>
              <a:ahLst/>
              <a:cxnLst>
                <a:cxn ang="0">
                  <a:pos x="114" y="0"/>
                </a:cxn>
                <a:cxn ang="0">
                  <a:pos x="54" y="20"/>
                </a:cxn>
                <a:cxn ang="0">
                  <a:pos x="0" y="0"/>
                </a:cxn>
              </a:cxnLst>
              <a:rect l="0" t="0" r="r" b="b"/>
              <a:pathLst>
                <a:path w="114" h="21">
                  <a:moveTo>
                    <a:pt x="114" y="0"/>
                  </a:moveTo>
                  <a:cubicBezTo>
                    <a:pt x="113" y="12"/>
                    <a:pt x="86" y="21"/>
                    <a:pt x="54" y="20"/>
                  </a:cubicBezTo>
                  <a:cubicBezTo>
                    <a:pt x="25" y="19"/>
                    <a:pt x="1" y="11"/>
                    <a:pt x="0" y="0"/>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95" name="Freeform 254">
              <a:extLst>
                <a:ext uri="{FF2B5EF4-FFF2-40B4-BE49-F238E27FC236}">
                  <a16:creationId xmlns:a16="http://schemas.microsoft.com/office/drawing/2014/main" id="{077271EF-DD0A-43CA-B000-0E057AB9C731}"/>
                </a:ext>
              </a:extLst>
            </p:cNvPr>
            <p:cNvSpPr>
              <a:spLocks/>
            </p:cNvSpPr>
            <p:nvPr/>
          </p:nvSpPr>
          <p:spPr bwMode="auto">
            <a:xfrm>
              <a:off x="3741738" y="1027113"/>
              <a:ext cx="192088" cy="42863"/>
            </a:xfrm>
            <a:custGeom>
              <a:avLst/>
              <a:gdLst/>
              <a:ahLst/>
              <a:cxnLst>
                <a:cxn ang="0">
                  <a:pos x="99" y="13"/>
                </a:cxn>
                <a:cxn ang="0">
                  <a:pos x="19" y="14"/>
                </a:cxn>
                <a:cxn ang="0">
                  <a:pos x="0" y="0"/>
                </a:cxn>
              </a:cxnLst>
              <a:rect l="0" t="0" r="r" b="b"/>
              <a:pathLst>
                <a:path w="99" h="22">
                  <a:moveTo>
                    <a:pt x="99" y="13"/>
                  </a:moveTo>
                  <a:cubicBezTo>
                    <a:pt x="78" y="21"/>
                    <a:pt x="42" y="22"/>
                    <a:pt x="19" y="14"/>
                  </a:cubicBezTo>
                  <a:cubicBezTo>
                    <a:pt x="8" y="11"/>
                    <a:pt x="1" y="5"/>
                    <a:pt x="0" y="0"/>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96" name="Line 255">
              <a:extLst>
                <a:ext uri="{FF2B5EF4-FFF2-40B4-BE49-F238E27FC236}">
                  <a16:creationId xmlns:a16="http://schemas.microsoft.com/office/drawing/2014/main" id="{DC1139B5-448B-4E42-8D8F-4D22410DE902}"/>
                </a:ext>
              </a:extLst>
            </p:cNvPr>
            <p:cNvSpPr>
              <a:spLocks noChangeShapeType="1"/>
            </p:cNvSpPr>
            <p:nvPr/>
          </p:nvSpPr>
          <p:spPr bwMode="auto">
            <a:xfrm>
              <a:off x="3962401" y="801688"/>
              <a:ext cx="1588" cy="230188"/>
            </a:xfrm>
            <a:prstGeom prst="line">
              <a:avLst/>
            </a:pr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97" name="Line 256">
              <a:extLst>
                <a:ext uri="{FF2B5EF4-FFF2-40B4-BE49-F238E27FC236}">
                  <a16:creationId xmlns:a16="http://schemas.microsoft.com/office/drawing/2014/main" id="{C1A35D2A-CDFE-4CA8-BEC7-599093F7BC00}"/>
                </a:ext>
              </a:extLst>
            </p:cNvPr>
            <p:cNvSpPr>
              <a:spLocks noChangeShapeType="1"/>
            </p:cNvSpPr>
            <p:nvPr/>
          </p:nvSpPr>
          <p:spPr bwMode="auto">
            <a:xfrm>
              <a:off x="3741738" y="801688"/>
              <a:ext cx="1588" cy="228600"/>
            </a:xfrm>
            <a:prstGeom prst="line">
              <a:avLst/>
            </a:pr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98" name="Freeform 257">
              <a:extLst>
                <a:ext uri="{FF2B5EF4-FFF2-40B4-BE49-F238E27FC236}">
                  <a16:creationId xmlns:a16="http://schemas.microsoft.com/office/drawing/2014/main" id="{4A9EFB3B-A07B-470A-9D5A-342A644491B2}"/>
                </a:ext>
              </a:extLst>
            </p:cNvPr>
            <p:cNvSpPr>
              <a:spLocks/>
            </p:cNvSpPr>
            <p:nvPr/>
          </p:nvSpPr>
          <p:spPr bwMode="auto">
            <a:xfrm>
              <a:off x="3741738" y="974725"/>
              <a:ext cx="220663" cy="41275"/>
            </a:xfrm>
            <a:custGeom>
              <a:avLst/>
              <a:gdLst/>
              <a:ahLst/>
              <a:cxnLst>
                <a:cxn ang="0">
                  <a:pos x="114" y="1"/>
                </a:cxn>
                <a:cxn ang="0">
                  <a:pos x="54" y="20"/>
                </a:cxn>
                <a:cxn ang="0">
                  <a:pos x="0" y="0"/>
                </a:cxn>
              </a:cxnLst>
              <a:rect l="0" t="0" r="r" b="b"/>
              <a:pathLst>
                <a:path w="114" h="21">
                  <a:moveTo>
                    <a:pt x="114" y="1"/>
                  </a:moveTo>
                  <a:cubicBezTo>
                    <a:pt x="113" y="12"/>
                    <a:pt x="86" y="21"/>
                    <a:pt x="54" y="20"/>
                  </a:cubicBezTo>
                  <a:cubicBezTo>
                    <a:pt x="25" y="20"/>
                    <a:pt x="1" y="11"/>
                    <a:pt x="0" y="0"/>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endParaRPr>
            </a:p>
          </p:txBody>
        </p:sp>
      </p:grpSp>
      <p:cxnSp>
        <p:nvCxnSpPr>
          <p:cNvPr id="115" name="Connector: Elbow 114">
            <a:extLst>
              <a:ext uri="{FF2B5EF4-FFF2-40B4-BE49-F238E27FC236}">
                <a16:creationId xmlns:a16="http://schemas.microsoft.com/office/drawing/2014/main" id="{0B49AFC3-8F10-4780-8F42-87C98479D1D2}"/>
              </a:ext>
            </a:extLst>
          </p:cNvPr>
          <p:cNvCxnSpPr>
            <a:cxnSpLocks/>
          </p:cNvCxnSpPr>
          <p:nvPr/>
        </p:nvCxnSpPr>
        <p:spPr>
          <a:xfrm rot="16200000" flipH="1">
            <a:off x="3721864" y="5860633"/>
            <a:ext cx="714220" cy="413058"/>
          </a:xfrm>
          <a:prstGeom prst="bentConnector3">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035F3992-8639-43A0-85CA-670CF671BF7C}"/>
              </a:ext>
            </a:extLst>
          </p:cNvPr>
          <p:cNvCxnSpPr>
            <a:cxnSpLocks/>
          </p:cNvCxnSpPr>
          <p:nvPr/>
        </p:nvCxnSpPr>
        <p:spPr>
          <a:xfrm rot="5400000">
            <a:off x="4445055" y="5783081"/>
            <a:ext cx="675997" cy="558293"/>
          </a:xfrm>
          <a:prstGeom prst="bentConnector3">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EF0AA1CC-56C4-4F30-B5C9-72C2BC30E148}"/>
              </a:ext>
            </a:extLst>
          </p:cNvPr>
          <p:cNvCxnSpPr/>
          <p:nvPr/>
        </p:nvCxnSpPr>
        <p:spPr>
          <a:xfrm flipH="1">
            <a:off x="4406580" y="5761979"/>
            <a:ext cx="11600" cy="646415"/>
          </a:xfrm>
          <a:prstGeom prst="straightConnector1">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5" name="Flowchart: Magnetic Disk 124">
            <a:extLst>
              <a:ext uri="{FF2B5EF4-FFF2-40B4-BE49-F238E27FC236}">
                <a16:creationId xmlns:a16="http://schemas.microsoft.com/office/drawing/2014/main" id="{FC8C77D1-86B6-4957-9930-02663334A618}"/>
              </a:ext>
            </a:extLst>
          </p:cNvPr>
          <p:cNvSpPr/>
          <p:nvPr/>
        </p:nvSpPr>
        <p:spPr>
          <a:xfrm>
            <a:off x="4134878" y="4773470"/>
            <a:ext cx="690429" cy="265619"/>
          </a:xfrm>
          <a:prstGeom prst="flowChartMagneticDisk">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de-DE" sz="1400" dirty="0">
              <a:solidFill>
                <a:schemeClr val="tx1"/>
              </a:solidFill>
            </a:endParaRPr>
          </a:p>
        </p:txBody>
      </p:sp>
      <p:cxnSp>
        <p:nvCxnSpPr>
          <p:cNvPr id="129" name="Straight Connector 128">
            <a:extLst>
              <a:ext uri="{FF2B5EF4-FFF2-40B4-BE49-F238E27FC236}">
                <a16:creationId xmlns:a16="http://schemas.microsoft.com/office/drawing/2014/main" id="{B4BFD844-E7A2-43B9-BFBB-291E6523CA97}"/>
              </a:ext>
            </a:extLst>
          </p:cNvPr>
          <p:cNvCxnSpPr>
            <a:cxnSpLocks/>
            <a:endCxn id="125" idx="3"/>
          </p:cNvCxnSpPr>
          <p:nvPr/>
        </p:nvCxnSpPr>
        <p:spPr>
          <a:xfrm flipV="1">
            <a:off x="4052847" y="5039089"/>
            <a:ext cx="427246" cy="198251"/>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131" name="Straight Connector 130">
            <a:extLst>
              <a:ext uri="{FF2B5EF4-FFF2-40B4-BE49-F238E27FC236}">
                <a16:creationId xmlns:a16="http://schemas.microsoft.com/office/drawing/2014/main" id="{0BFD9DC4-5BB6-4E62-A8AE-2944AD7AF16E}"/>
              </a:ext>
            </a:extLst>
          </p:cNvPr>
          <p:cNvCxnSpPr>
            <a:cxnSpLocks/>
            <a:endCxn id="125" idx="3"/>
          </p:cNvCxnSpPr>
          <p:nvPr/>
        </p:nvCxnSpPr>
        <p:spPr>
          <a:xfrm flipV="1">
            <a:off x="4480092" y="5039089"/>
            <a:ext cx="1" cy="19656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860192D-F6B5-48B2-84CC-46F335966FCC}"/>
              </a:ext>
            </a:extLst>
          </p:cNvPr>
          <p:cNvCxnSpPr>
            <a:stCxn id="71" idx="7"/>
            <a:endCxn id="125" idx="3"/>
          </p:cNvCxnSpPr>
          <p:nvPr/>
        </p:nvCxnSpPr>
        <p:spPr>
          <a:xfrm flipH="1" flipV="1">
            <a:off x="4480093" y="5039089"/>
            <a:ext cx="479439" cy="224286"/>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7" name="Freeform 717">
            <a:extLst>
              <a:ext uri="{FF2B5EF4-FFF2-40B4-BE49-F238E27FC236}">
                <a16:creationId xmlns:a16="http://schemas.microsoft.com/office/drawing/2014/main" id="{F86FDB85-218B-465D-A500-D2EE4EBF73EC}"/>
              </a:ext>
            </a:extLst>
          </p:cNvPr>
          <p:cNvSpPr>
            <a:spLocks noEditPoints="1"/>
          </p:cNvSpPr>
          <p:nvPr/>
        </p:nvSpPr>
        <p:spPr bwMode="auto">
          <a:xfrm>
            <a:off x="4116556" y="3970762"/>
            <a:ext cx="363536" cy="236619"/>
          </a:xfrm>
          <a:custGeom>
            <a:avLst/>
            <a:gdLst/>
            <a:ahLst/>
            <a:cxnLst>
              <a:cxn ang="0">
                <a:pos x="139" y="90"/>
              </a:cxn>
              <a:cxn ang="0">
                <a:pos x="158" y="71"/>
              </a:cxn>
              <a:cxn ang="0">
                <a:pos x="139" y="51"/>
              </a:cxn>
              <a:cxn ang="0">
                <a:pos x="139" y="51"/>
              </a:cxn>
              <a:cxn ang="0">
                <a:pos x="139" y="50"/>
              </a:cxn>
              <a:cxn ang="0">
                <a:pos x="105" y="16"/>
              </a:cxn>
              <a:cxn ang="0">
                <a:pos x="74" y="38"/>
              </a:cxn>
              <a:cxn ang="0">
                <a:pos x="66" y="37"/>
              </a:cxn>
              <a:cxn ang="0">
                <a:pos x="39" y="64"/>
              </a:cxn>
              <a:cxn ang="0">
                <a:pos x="66" y="90"/>
              </a:cxn>
              <a:cxn ang="0">
                <a:pos x="121" y="90"/>
              </a:cxn>
              <a:cxn ang="0">
                <a:pos x="200" y="112"/>
              </a:cxn>
              <a:cxn ang="0">
                <a:pos x="186" y="126"/>
              </a:cxn>
              <a:cxn ang="0">
                <a:pos x="13" y="126"/>
              </a:cxn>
              <a:cxn ang="0">
                <a:pos x="0" y="112"/>
              </a:cxn>
              <a:cxn ang="0">
                <a:pos x="182" y="112"/>
              </a:cxn>
              <a:cxn ang="0">
                <a:pos x="182" y="0"/>
              </a:cxn>
              <a:cxn ang="0">
                <a:pos x="18" y="0"/>
              </a:cxn>
              <a:cxn ang="0">
                <a:pos x="18" y="97"/>
              </a:cxn>
            </a:cxnLst>
            <a:rect l="0" t="0" r="r" b="b"/>
            <a:pathLst>
              <a:path w="200" h="126">
                <a:moveTo>
                  <a:pt x="139" y="90"/>
                </a:moveTo>
                <a:cubicBezTo>
                  <a:pt x="150" y="90"/>
                  <a:pt x="158" y="81"/>
                  <a:pt x="158" y="71"/>
                </a:cubicBezTo>
                <a:cubicBezTo>
                  <a:pt x="158" y="60"/>
                  <a:pt x="150" y="51"/>
                  <a:pt x="139" y="51"/>
                </a:cubicBezTo>
                <a:cubicBezTo>
                  <a:pt x="139" y="51"/>
                  <a:pt x="139" y="51"/>
                  <a:pt x="139" y="51"/>
                </a:cubicBezTo>
                <a:cubicBezTo>
                  <a:pt x="139" y="51"/>
                  <a:pt x="139" y="50"/>
                  <a:pt x="139" y="50"/>
                </a:cubicBezTo>
                <a:cubicBezTo>
                  <a:pt x="139" y="31"/>
                  <a:pt x="124" y="16"/>
                  <a:pt x="105" y="16"/>
                </a:cubicBezTo>
                <a:cubicBezTo>
                  <a:pt x="91" y="16"/>
                  <a:pt x="79" y="26"/>
                  <a:pt x="74" y="38"/>
                </a:cubicBezTo>
                <a:cubicBezTo>
                  <a:pt x="71" y="38"/>
                  <a:pt x="69" y="37"/>
                  <a:pt x="66" y="37"/>
                </a:cubicBezTo>
                <a:cubicBezTo>
                  <a:pt x="51" y="37"/>
                  <a:pt x="39" y="49"/>
                  <a:pt x="39" y="64"/>
                </a:cubicBezTo>
                <a:cubicBezTo>
                  <a:pt x="39" y="78"/>
                  <a:pt x="51" y="90"/>
                  <a:pt x="66" y="90"/>
                </a:cubicBezTo>
                <a:cubicBezTo>
                  <a:pt x="121" y="90"/>
                  <a:pt x="121" y="90"/>
                  <a:pt x="121" y="90"/>
                </a:cubicBezTo>
                <a:moveTo>
                  <a:pt x="200" y="112"/>
                </a:moveTo>
                <a:cubicBezTo>
                  <a:pt x="200" y="120"/>
                  <a:pt x="194" y="126"/>
                  <a:pt x="186" y="126"/>
                </a:cubicBezTo>
                <a:cubicBezTo>
                  <a:pt x="13" y="126"/>
                  <a:pt x="13" y="126"/>
                  <a:pt x="13"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cs typeface="Arial" pitchFamily="34" charset="0"/>
            </a:endParaRPr>
          </a:p>
        </p:txBody>
      </p:sp>
      <p:sp>
        <p:nvSpPr>
          <p:cNvPr id="138" name="Freeform 717">
            <a:extLst>
              <a:ext uri="{FF2B5EF4-FFF2-40B4-BE49-F238E27FC236}">
                <a16:creationId xmlns:a16="http://schemas.microsoft.com/office/drawing/2014/main" id="{DDC916D1-875B-48CF-B742-348C7088B706}"/>
              </a:ext>
            </a:extLst>
          </p:cNvPr>
          <p:cNvSpPr>
            <a:spLocks noEditPoints="1"/>
          </p:cNvSpPr>
          <p:nvPr/>
        </p:nvSpPr>
        <p:spPr bwMode="auto">
          <a:xfrm>
            <a:off x="3562868" y="3973521"/>
            <a:ext cx="387350" cy="244475"/>
          </a:xfrm>
          <a:custGeom>
            <a:avLst/>
            <a:gdLst/>
            <a:ahLst/>
            <a:cxnLst>
              <a:cxn ang="0">
                <a:pos x="139" y="90"/>
              </a:cxn>
              <a:cxn ang="0">
                <a:pos x="158" y="71"/>
              </a:cxn>
              <a:cxn ang="0">
                <a:pos x="139" y="51"/>
              </a:cxn>
              <a:cxn ang="0">
                <a:pos x="139" y="51"/>
              </a:cxn>
              <a:cxn ang="0">
                <a:pos x="139" y="50"/>
              </a:cxn>
              <a:cxn ang="0">
                <a:pos x="105" y="16"/>
              </a:cxn>
              <a:cxn ang="0">
                <a:pos x="74" y="38"/>
              </a:cxn>
              <a:cxn ang="0">
                <a:pos x="66" y="37"/>
              </a:cxn>
              <a:cxn ang="0">
                <a:pos x="39" y="64"/>
              </a:cxn>
              <a:cxn ang="0">
                <a:pos x="66" y="90"/>
              </a:cxn>
              <a:cxn ang="0">
                <a:pos x="121" y="90"/>
              </a:cxn>
              <a:cxn ang="0">
                <a:pos x="200" y="112"/>
              </a:cxn>
              <a:cxn ang="0">
                <a:pos x="186" y="126"/>
              </a:cxn>
              <a:cxn ang="0">
                <a:pos x="13" y="126"/>
              </a:cxn>
              <a:cxn ang="0">
                <a:pos x="0" y="112"/>
              </a:cxn>
              <a:cxn ang="0">
                <a:pos x="182" y="112"/>
              </a:cxn>
              <a:cxn ang="0">
                <a:pos x="182" y="0"/>
              </a:cxn>
              <a:cxn ang="0">
                <a:pos x="18" y="0"/>
              </a:cxn>
              <a:cxn ang="0">
                <a:pos x="18" y="97"/>
              </a:cxn>
            </a:cxnLst>
            <a:rect l="0" t="0" r="r" b="b"/>
            <a:pathLst>
              <a:path w="200" h="126">
                <a:moveTo>
                  <a:pt x="139" y="90"/>
                </a:moveTo>
                <a:cubicBezTo>
                  <a:pt x="150" y="90"/>
                  <a:pt x="158" y="81"/>
                  <a:pt x="158" y="71"/>
                </a:cubicBezTo>
                <a:cubicBezTo>
                  <a:pt x="158" y="60"/>
                  <a:pt x="150" y="51"/>
                  <a:pt x="139" y="51"/>
                </a:cubicBezTo>
                <a:cubicBezTo>
                  <a:pt x="139" y="51"/>
                  <a:pt x="139" y="51"/>
                  <a:pt x="139" y="51"/>
                </a:cubicBezTo>
                <a:cubicBezTo>
                  <a:pt x="139" y="51"/>
                  <a:pt x="139" y="50"/>
                  <a:pt x="139" y="50"/>
                </a:cubicBezTo>
                <a:cubicBezTo>
                  <a:pt x="139" y="31"/>
                  <a:pt x="124" y="16"/>
                  <a:pt x="105" y="16"/>
                </a:cubicBezTo>
                <a:cubicBezTo>
                  <a:pt x="91" y="16"/>
                  <a:pt x="79" y="26"/>
                  <a:pt x="74" y="38"/>
                </a:cubicBezTo>
                <a:cubicBezTo>
                  <a:pt x="71" y="38"/>
                  <a:pt x="69" y="37"/>
                  <a:pt x="66" y="37"/>
                </a:cubicBezTo>
                <a:cubicBezTo>
                  <a:pt x="51" y="37"/>
                  <a:pt x="39" y="49"/>
                  <a:pt x="39" y="64"/>
                </a:cubicBezTo>
                <a:cubicBezTo>
                  <a:pt x="39" y="78"/>
                  <a:pt x="51" y="90"/>
                  <a:pt x="66" y="90"/>
                </a:cubicBezTo>
                <a:cubicBezTo>
                  <a:pt x="121" y="90"/>
                  <a:pt x="121" y="90"/>
                  <a:pt x="121" y="90"/>
                </a:cubicBezTo>
                <a:moveTo>
                  <a:pt x="200" y="112"/>
                </a:moveTo>
                <a:cubicBezTo>
                  <a:pt x="200" y="120"/>
                  <a:pt x="194" y="126"/>
                  <a:pt x="186" y="126"/>
                </a:cubicBezTo>
                <a:cubicBezTo>
                  <a:pt x="13" y="126"/>
                  <a:pt x="13" y="126"/>
                  <a:pt x="13"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cs typeface="Arial" pitchFamily="34" charset="0"/>
            </a:endParaRPr>
          </a:p>
        </p:txBody>
      </p:sp>
      <p:sp>
        <p:nvSpPr>
          <p:cNvPr id="139" name="Freeform 717">
            <a:extLst>
              <a:ext uri="{FF2B5EF4-FFF2-40B4-BE49-F238E27FC236}">
                <a16:creationId xmlns:a16="http://schemas.microsoft.com/office/drawing/2014/main" id="{117F4BA0-885E-4D8A-95C1-610A4475D330}"/>
              </a:ext>
            </a:extLst>
          </p:cNvPr>
          <p:cNvSpPr>
            <a:spLocks noEditPoints="1"/>
          </p:cNvSpPr>
          <p:nvPr/>
        </p:nvSpPr>
        <p:spPr bwMode="auto">
          <a:xfrm>
            <a:off x="4644633" y="3973520"/>
            <a:ext cx="387350" cy="244475"/>
          </a:xfrm>
          <a:custGeom>
            <a:avLst/>
            <a:gdLst/>
            <a:ahLst/>
            <a:cxnLst>
              <a:cxn ang="0">
                <a:pos x="139" y="90"/>
              </a:cxn>
              <a:cxn ang="0">
                <a:pos x="158" y="71"/>
              </a:cxn>
              <a:cxn ang="0">
                <a:pos x="139" y="51"/>
              </a:cxn>
              <a:cxn ang="0">
                <a:pos x="139" y="51"/>
              </a:cxn>
              <a:cxn ang="0">
                <a:pos x="139" y="50"/>
              </a:cxn>
              <a:cxn ang="0">
                <a:pos x="105" y="16"/>
              </a:cxn>
              <a:cxn ang="0">
                <a:pos x="74" y="38"/>
              </a:cxn>
              <a:cxn ang="0">
                <a:pos x="66" y="37"/>
              </a:cxn>
              <a:cxn ang="0">
                <a:pos x="39" y="64"/>
              </a:cxn>
              <a:cxn ang="0">
                <a:pos x="66" y="90"/>
              </a:cxn>
              <a:cxn ang="0">
                <a:pos x="121" y="90"/>
              </a:cxn>
              <a:cxn ang="0">
                <a:pos x="200" y="112"/>
              </a:cxn>
              <a:cxn ang="0">
                <a:pos x="186" y="126"/>
              </a:cxn>
              <a:cxn ang="0">
                <a:pos x="13" y="126"/>
              </a:cxn>
              <a:cxn ang="0">
                <a:pos x="0" y="112"/>
              </a:cxn>
              <a:cxn ang="0">
                <a:pos x="182" y="112"/>
              </a:cxn>
              <a:cxn ang="0">
                <a:pos x="182" y="0"/>
              </a:cxn>
              <a:cxn ang="0">
                <a:pos x="18" y="0"/>
              </a:cxn>
              <a:cxn ang="0">
                <a:pos x="18" y="97"/>
              </a:cxn>
            </a:cxnLst>
            <a:rect l="0" t="0" r="r" b="b"/>
            <a:pathLst>
              <a:path w="200" h="126">
                <a:moveTo>
                  <a:pt x="139" y="90"/>
                </a:moveTo>
                <a:cubicBezTo>
                  <a:pt x="150" y="90"/>
                  <a:pt x="158" y="81"/>
                  <a:pt x="158" y="71"/>
                </a:cubicBezTo>
                <a:cubicBezTo>
                  <a:pt x="158" y="60"/>
                  <a:pt x="150" y="51"/>
                  <a:pt x="139" y="51"/>
                </a:cubicBezTo>
                <a:cubicBezTo>
                  <a:pt x="139" y="51"/>
                  <a:pt x="139" y="51"/>
                  <a:pt x="139" y="51"/>
                </a:cubicBezTo>
                <a:cubicBezTo>
                  <a:pt x="139" y="51"/>
                  <a:pt x="139" y="50"/>
                  <a:pt x="139" y="50"/>
                </a:cubicBezTo>
                <a:cubicBezTo>
                  <a:pt x="139" y="31"/>
                  <a:pt x="124" y="16"/>
                  <a:pt x="105" y="16"/>
                </a:cubicBezTo>
                <a:cubicBezTo>
                  <a:pt x="91" y="16"/>
                  <a:pt x="79" y="26"/>
                  <a:pt x="74" y="38"/>
                </a:cubicBezTo>
                <a:cubicBezTo>
                  <a:pt x="71" y="38"/>
                  <a:pt x="69" y="37"/>
                  <a:pt x="66" y="37"/>
                </a:cubicBezTo>
                <a:cubicBezTo>
                  <a:pt x="51" y="37"/>
                  <a:pt x="39" y="49"/>
                  <a:pt x="39" y="64"/>
                </a:cubicBezTo>
                <a:cubicBezTo>
                  <a:pt x="39" y="78"/>
                  <a:pt x="51" y="90"/>
                  <a:pt x="66" y="90"/>
                </a:cubicBezTo>
                <a:cubicBezTo>
                  <a:pt x="121" y="90"/>
                  <a:pt x="121" y="90"/>
                  <a:pt x="121" y="90"/>
                </a:cubicBezTo>
                <a:moveTo>
                  <a:pt x="200" y="112"/>
                </a:moveTo>
                <a:cubicBezTo>
                  <a:pt x="200" y="120"/>
                  <a:pt x="194" y="126"/>
                  <a:pt x="186" y="126"/>
                </a:cubicBezTo>
                <a:cubicBezTo>
                  <a:pt x="13" y="126"/>
                  <a:pt x="13" y="126"/>
                  <a:pt x="13"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n-lt"/>
              <a:cs typeface="Arial" pitchFamily="34" charset="0"/>
            </a:endParaRPr>
          </a:p>
        </p:txBody>
      </p:sp>
      <p:sp>
        <p:nvSpPr>
          <p:cNvPr id="143" name="TextBox 142">
            <a:extLst>
              <a:ext uri="{FF2B5EF4-FFF2-40B4-BE49-F238E27FC236}">
                <a16:creationId xmlns:a16="http://schemas.microsoft.com/office/drawing/2014/main" id="{5FF23B54-9883-4D5B-8314-28777EC4931D}"/>
              </a:ext>
            </a:extLst>
          </p:cNvPr>
          <p:cNvSpPr txBox="1"/>
          <p:nvPr/>
        </p:nvSpPr>
        <p:spPr>
          <a:xfrm>
            <a:off x="407988" y="921358"/>
            <a:ext cx="11016604" cy="954107"/>
          </a:xfrm>
          <a:prstGeom prst="rect">
            <a:avLst/>
          </a:prstGeom>
          <a:noFill/>
        </p:spPr>
        <p:txBody>
          <a:bodyPr wrap="square" rtlCol="0">
            <a:spAutoFit/>
          </a:bodyPr>
          <a:lstStyle/>
          <a:p>
            <a:pPr marL="285750" indent="-285750">
              <a:buFont typeface="Arial" panose="020B0604020202020204" pitchFamily="34" charset="0"/>
              <a:buChar char="•"/>
            </a:pPr>
            <a:r>
              <a:rPr lang="pl-PL" sz="1400" dirty="0"/>
              <a:t>Data Center Level Virtualization through the cloud portal</a:t>
            </a:r>
          </a:p>
          <a:p>
            <a:pPr marL="285750" indent="-285750">
              <a:buFont typeface="Arial" panose="020B0604020202020204" pitchFamily="34" charset="0"/>
              <a:buChar char="•"/>
            </a:pPr>
            <a:r>
              <a:rPr lang="pl-PL" sz="1400" dirty="0"/>
              <a:t>Customer requests VMs, selects OS, storage, computer power</a:t>
            </a:r>
          </a:p>
          <a:p>
            <a:pPr marL="285750" indent="-285750">
              <a:buFont typeface="Arial" panose="020B0604020202020204" pitchFamily="34" charset="0"/>
              <a:buChar char="•"/>
            </a:pPr>
            <a:r>
              <a:rPr lang="pl-PL" sz="1400" dirty="0"/>
              <a:t>Resources can be located anywhere in provider environment</a:t>
            </a:r>
          </a:p>
          <a:p>
            <a:pPr marL="285750" indent="-285750">
              <a:buFont typeface="Arial" panose="020B0604020202020204" pitchFamily="34" charset="0"/>
              <a:buChar char="•"/>
            </a:pPr>
            <a:r>
              <a:rPr lang="pl-PL" sz="1400" dirty="0"/>
              <a:t>Billed on demand basis (more computer power </a:t>
            </a:r>
            <a:r>
              <a:rPr lang="pl-PL" sz="1400"/>
              <a:t>and storage </a:t>
            </a:r>
            <a:r>
              <a:rPr lang="pl-PL" sz="1400" dirty="0"/>
              <a:t>generate more costs)</a:t>
            </a:r>
            <a:endParaRPr lang="de-DE" sz="1400" dirty="0"/>
          </a:p>
        </p:txBody>
      </p:sp>
      <p:sp>
        <p:nvSpPr>
          <p:cNvPr id="144" name="TextBox 143">
            <a:extLst>
              <a:ext uri="{FF2B5EF4-FFF2-40B4-BE49-F238E27FC236}">
                <a16:creationId xmlns:a16="http://schemas.microsoft.com/office/drawing/2014/main" id="{9AA95703-DCA8-4582-A37C-AA6A9D03F4F7}"/>
              </a:ext>
            </a:extLst>
          </p:cNvPr>
          <p:cNvSpPr txBox="1"/>
          <p:nvPr/>
        </p:nvSpPr>
        <p:spPr>
          <a:xfrm rot="16200000">
            <a:off x="2262958" y="2980345"/>
            <a:ext cx="1055097" cy="307777"/>
          </a:xfrm>
          <a:prstGeom prst="rect">
            <a:avLst/>
          </a:prstGeom>
          <a:noFill/>
        </p:spPr>
        <p:txBody>
          <a:bodyPr wrap="square" rtlCol="0">
            <a:spAutoFit/>
          </a:bodyPr>
          <a:lstStyle/>
          <a:p>
            <a:r>
              <a:rPr lang="pl-PL" sz="1400" dirty="0"/>
              <a:t>Customer</a:t>
            </a:r>
            <a:endParaRPr lang="de-DE" sz="1400" dirty="0"/>
          </a:p>
        </p:txBody>
      </p:sp>
      <p:sp>
        <p:nvSpPr>
          <p:cNvPr id="145" name="TextBox 144">
            <a:extLst>
              <a:ext uri="{FF2B5EF4-FFF2-40B4-BE49-F238E27FC236}">
                <a16:creationId xmlns:a16="http://schemas.microsoft.com/office/drawing/2014/main" id="{2F1F5DF7-33AE-4EB8-9993-46D2225B47E4}"/>
              </a:ext>
            </a:extLst>
          </p:cNvPr>
          <p:cNvSpPr txBox="1"/>
          <p:nvPr/>
        </p:nvSpPr>
        <p:spPr>
          <a:xfrm rot="16200000">
            <a:off x="2325346" y="5381859"/>
            <a:ext cx="930319" cy="307777"/>
          </a:xfrm>
          <a:prstGeom prst="rect">
            <a:avLst/>
          </a:prstGeom>
          <a:noFill/>
        </p:spPr>
        <p:txBody>
          <a:bodyPr wrap="none" rtlCol="0">
            <a:spAutoFit/>
          </a:bodyPr>
          <a:lstStyle/>
          <a:p>
            <a:r>
              <a:rPr lang="pl-PL" sz="1400" dirty="0"/>
              <a:t>Provider</a:t>
            </a:r>
            <a:endParaRPr lang="de-DE" sz="1400" dirty="0"/>
          </a:p>
        </p:txBody>
      </p:sp>
      <p:sp>
        <p:nvSpPr>
          <p:cNvPr id="3" name="AutoShape 2" descr="Bildergebnis für Amazon ec2">
            <a:extLst>
              <a:ext uri="{FF2B5EF4-FFF2-40B4-BE49-F238E27FC236}">
                <a16:creationId xmlns:a16="http://schemas.microsoft.com/office/drawing/2014/main" id="{9CAD8F74-6D44-459C-9FE3-3D7250A2C1C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41" name="Picture 40">
            <a:extLst>
              <a:ext uri="{FF2B5EF4-FFF2-40B4-BE49-F238E27FC236}">
                <a16:creationId xmlns:a16="http://schemas.microsoft.com/office/drawing/2014/main" id="{FAFE6D9B-F308-4D3D-9AC3-835E2AD0DFC4}"/>
              </a:ext>
            </a:extLst>
          </p:cNvPr>
          <p:cNvPicPr>
            <a:picLocks noChangeAspect="1"/>
          </p:cNvPicPr>
          <p:nvPr/>
        </p:nvPicPr>
        <p:blipFill>
          <a:blip r:embed="rId2"/>
          <a:stretch>
            <a:fillRect/>
          </a:stretch>
        </p:blipFill>
        <p:spPr>
          <a:xfrm>
            <a:off x="9657854" y="2065638"/>
            <a:ext cx="2126159" cy="1210962"/>
          </a:xfrm>
          <a:prstGeom prst="rect">
            <a:avLst/>
          </a:prstGeom>
        </p:spPr>
      </p:pic>
      <p:pic>
        <p:nvPicPr>
          <p:cNvPr id="99" name="Picture 98">
            <a:extLst>
              <a:ext uri="{FF2B5EF4-FFF2-40B4-BE49-F238E27FC236}">
                <a16:creationId xmlns:a16="http://schemas.microsoft.com/office/drawing/2014/main" id="{9E7903FD-C960-47F2-8450-F4DE4ED4841B}"/>
              </a:ext>
            </a:extLst>
          </p:cNvPr>
          <p:cNvPicPr>
            <a:picLocks noChangeAspect="1"/>
          </p:cNvPicPr>
          <p:nvPr/>
        </p:nvPicPr>
        <p:blipFill>
          <a:blip r:embed="rId3"/>
          <a:stretch>
            <a:fillRect/>
          </a:stretch>
        </p:blipFill>
        <p:spPr>
          <a:xfrm>
            <a:off x="9797874" y="3471869"/>
            <a:ext cx="1933575" cy="1247775"/>
          </a:xfrm>
          <a:prstGeom prst="rect">
            <a:avLst/>
          </a:prstGeom>
        </p:spPr>
      </p:pic>
    </p:spTree>
    <p:extLst>
      <p:ext uri="{BB962C8B-B14F-4D97-AF65-F5344CB8AC3E}">
        <p14:creationId xmlns:p14="http://schemas.microsoft.com/office/powerpoint/2010/main" val="3921059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1A9F3-384E-468D-BEA4-E1ECFF435297}"/>
              </a:ext>
            </a:extLst>
          </p:cNvPr>
          <p:cNvSpPr>
            <a:spLocks noGrp="1"/>
          </p:cNvSpPr>
          <p:nvPr>
            <p:ph type="title"/>
          </p:nvPr>
        </p:nvSpPr>
        <p:spPr/>
        <p:txBody>
          <a:bodyPr/>
          <a:lstStyle/>
          <a:p>
            <a:r>
              <a:rPr lang="pl-PL" dirty="0"/>
              <a:t>PaaS</a:t>
            </a:r>
            <a:endParaRPr lang="de-DE" dirty="0"/>
          </a:p>
        </p:txBody>
      </p:sp>
      <p:sp>
        <p:nvSpPr>
          <p:cNvPr id="4" name="Footer Placeholder 3">
            <a:extLst>
              <a:ext uri="{FF2B5EF4-FFF2-40B4-BE49-F238E27FC236}">
                <a16:creationId xmlns:a16="http://schemas.microsoft.com/office/drawing/2014/main" id="{011B4BCB-B282-43DC-ABBF-62C6C70EC4F1}"/>
              </a:ext>
            </a:extLst>
          </p:cNvPr>
          <p:cNvSpPr>
            <a:spLocks noGrp="1"/>
          </p:cNvSpPr>
          <p:nvPr>
            <p:ph type="ftr" sz="quarter" idx="15"/>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7DD5932B-BAF6-46D2-A5FA-C23C20D4247C}"/>
              </a:ext>
            </a:extLst>
          </p:cNvPr>
          <p:cNvSpPr>
            <a:spLocks noGrp="1"/>
          </p:cNvSpPr>
          <p:nvPr>
            <p:ph type="sldNum" sz="quarter" idx="16"/>
          </p:nvPr>
        </p:nvSpPr>
        <p:spPr/>
        <p:txBody>
          <a:bodyPr/>
          <a:lstStyle/>
          <a:p>
            <a:fld id="{DD205EFF-948D-4AF6-B54C-65639188FB5F}" type="slidenum">
              <a:rPr lang="en-US" smtClean="0"/>
              <a:pPr/>
              <a:t>9</a:t>
            </a:fld>
            <a:endParaRPr lang="en-US" dirty="0"/>
          </a:p>
        </p:txBody>
      </p:sp>
      <p:sp>
        <p:nvSpPr>
          <p:cNvPr id="6" name="Rectangle 5">
            <a:extLst>
              <a:ext uri="{FF2B5EF4-FFF2-40B4-BE49-F238E27FC236}">
                <a16:creationId xmlns:a16="http://schemas.microsoft.com/office/drawing/2014/main" id="{A8A40F82-4D27-4367-B5B3-A875737FE25A}"/>
              </a:ext>
            </a:extLst>
          </p:cNvPr>
          <p:cNvSpPr/>
          <p:nvPr/>
        </p:nvSpPr>
        <p:spPr>
          <a:xfrm>
            <a:off x="4439816" y="2187480"/>
            <a:ext cx="2829568" cy="107190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7" name="Rectangle 6">
            <a:extLst>
              <a:ext uri="{FF2B5EF4-FFF2-40B4-BE49-F238E27FC236}">
                <a16:creationId xmlns:a16="http://schemas.microsoft.com/office/drawing/2014/main" id="{6ABABC17-132E-48E9-B3F2-032F6F4114F0}"/>
              </a:ext>
            </a:extLst>
          </p:cNvPr>
          <p:cNvSpPr/>
          <p:nvPr/>
        </p:nvSpPr>
        <p:spPr>
          <a:xfrm>
            <a:off x="4439816" y="3312261"/>
            <a:ext cx="2829568" cy="344008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8" name="Rectangle 7">
            <a:extLst>
              <a:ext uri="{FF2B5EF4-FFF2-40B4-BE49-F238E27FC236}">
                <a16:creationId xmlns:a16="http://schemas.microsoft.com/office/drawing/2014/main" id="{2FA15F7A-0DF5-441A-A2AB-855D7CCA6555}"/>
              </a:ext>
            </a:extLst>
          </p:cNvPr>
          <p:cNvSpPr/>
          <p:nvPr/>
        </p:nvSpPr>
        <p:spPr>
          <a:xfrm>
            <a:off x="4804826" y="6245186"/>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Networking</a:t>
            </a:r>
            <a:endParaRPr lang="de-DE" sz="1400" dirty="0">
              <a:solidFill>
                <a:schemeClr val="tx1"/>
              </a:solidFill>
            </a:endParaRPr>
          </a:p>
        </p:txBody>
      </p:sp>
      <p:sp>
        <p:nvSpPr>
          <p:cNvPr id="9" name="Rectangle 8">
            <a:extLst>
              <a:ext uri="{FF2B5EF4-FFF2-40B4-BE49-F238E27FC236}">
                <a16:creationId xmlns:a16="http://schemas.microsoft.com/office/drawing/2014/main" id="{F842B938-14BD-4469-BF8A-073E0A6DB19B}"/>
              </a:ext>
            </a:extLst>
          </p:cNvPr>
          <p:cNvSpPr/>
          <p:nvPr/>
        </p:nvSpPr>
        <p:spPr>
          <a:xfrm>
            <a:off x="4822005" y="5766224"/>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Storage</a:t>
            </a:r>
            <a:endParaRPr lang="de-DE" sz="1400" dirty="0">
              <a:solidFill>
                <a:schemeClr val="tx1"/>
              </a:solidFill>
            </a:endParaRPr>
          </a:p>
        </p:txBody>
      </p:sp>
      <p:sp>
        <p:nvSpPr>
          <p:cNvPr id="10" name="Rectangle 9">
            <a:extLst>
              <a:ext uri="{FF2B5EF4-FFF2-40B4-BE49-F238E27FC236}">
                <a16:creationId xmlns:a16="http://schemas.microsoft.com/office/drawing/2014/main" id="{A850F0A9-A74A-4C8D-935A-A01E12ED49F5}"/>
              </a:ext>
            </a:extLst>
          </p:cNvPr>
          <p:cNvSpPr/>
          <p:nvPr/>
        </p:nvSpPr>
        <p:spPr>
          <a:xfrm>
            <a:off x="4804826" y="5290885"/>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Servers</a:t>
            </a:r>
            <a:endParaRPr lang="de-DE" sz="1400" dirty="0">
              <a:solidFill>
                <a:schemeClr val="tx1"/>
              </a:solidFill>
            </a:endParaRPr>
          </a:p>
        </p:txBody>
      </p:sp>
      <p:sp>
        <p:nvSpPr>
          <p:cNvPr id="11" name="Rectangle 10">
            <a:extLst>
              <a:ext uri="{FF2B5EF4-FFF2-40B4-BE49-F238E27FC236}">
                <a16:creationId xmlns:a16="http://schemas.microsoft.com/office/drawing/2014/main" id="{7ADE1D04-3521-4926-A757-67D2A994314B}"/>
              </a:ext>
            </a:extLst>
          </p:cNvPr>
          <p:cNvSpPr/>
          <p:nvPr/>
        </p:nvSpPr>
        <p:spPr>
          <a:xfrm>
            <a:off x="4804826" y="4817343"/>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Virtualization</a:t>
            </a:r>
            <a:endParaRPr lang="de-DE" sz="1400" dirty="0">
              <a:solidFill>
                <a:schemeClr val="tx1"/>
              </a:solidFill>
            </a:endParaRPr>
          </a:p>
        </p:txBody>
      </p:sp>
      <p:sp>
        <p:nvSpPr>
          <p:cNvPr id="12" name="Rectangle 11">
            <a:extLst>
              <a:ext uri="{FF2B5EF4-FFF2-40B4-BE49-F238E27FC236}">
                <a16:creationId xmlns:a16="http://schemas.microsoft.com/office/drawing/2014/main" id="{E8BA9914-79AD-473C-96DB-BE6DFE7F7010}"/>
              </a:ext>
            </a:extLst>
          </p:cNvPr>
          <p:cNvSpPr/>
          <p:nvPr/>
        </p:nvSpPr>
        <p:spPr>
          <a:xfrm>
            <a:off x="4829881" y="2839891"/>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Data</a:t>
            </a:r>
            <a:endParaRPr lang="de-DE" sz="1400" dirty="0">
              <a:solidFill>
                <a:schemeClr val="tx1"/>
              </a:solidFill>
            </a:endParaRPr>
          </a:p>
        </p:txBody>
      </p:sp>
      <p:sp>
        <p:nvSpPr>
          <p:cNvPr id="13" name="Rectangle 12">
            <a:extLst>
              <a:ext uri="{FF2B5EF4-FFF2-40B4-BE49-F238E27FC236}">
                <a16:creationId xmlns:a16="http://schemas.microsoft.com/office/drawing/2014/main" id="{3E8B1966-2DE4-4779-BC1D-4E798BEBC566}"/>
              </a:ext>
            </a:extLst>
          </p:cNvPr>
          <p:cNvSpPr/>
          <p:nvPr/>
        </p:nvSpPr>
        <p:spPr>
          <a:xfrm>
            <a:off x="4822005" y="3313885"/>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Runtime</a:t>
            </a:r>
            <a:endParaRPr lang="de-DE" sz="1400" dirty="0">
              <a:solidFill>
                <a:schemeClr val="tx1"/>
              </a:solidFill>
            </a:endParaRPr>
          </a:p>
        </p:txBody>
      </p:sp>
      <p:sp>
        <p:nvSpPr>
          <p:cNvPr id="14" name="Rectangle 13">
            <a:extLst>
              <a:ext uri="{FF2B5EF4-FFF2-40B4-BE49-F238E27FC236}">
                <a16:creationId xmlns:a16="http://schemas.microsoft.com/office/drawing/2014/main" id="{9981A27C-70CE-4514-8DDB-8EF3E28B63AC}"/>
              </a:ext>
            </a:extLst>
          </p:cNvPr>
          <p:cNvSpPr/>
          <p:nvPr/>
        </p:nvSpPr>
        <p:spPr>
          <a:xfrm>
            <a:off x="4801425" y="3823141"/>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Middleware</a:t>
            </a:r>
            <a:endParaRPr lang="de-DE" sz="1400" dirty="0">
              <a:solidFill>
                <a:schemeClr val="tx1"/>
              </a:solidFill>
            </a:endParaRPr>
          </a:p>
        </p:txBody>
      </p:sp>
      <p:sp>
        <p:nvSpPr>
          <p:cNvPr id="15" name="Rectangle 14">
            <a:extLst>
              <a:ext uri="{FF2B5EF4-FFF2-40B4-BE49-F238E27FC236}">
                <a16:creationId xmlns:a16="http://schemas.microsoft.com/office/drawing/2014/main" id="{BF4EE162-6D46-4A81-B248-380C0AAB75C8}"/>
              </a:ext>
            </a:extLst>
          </p:cNvPr>
          <p:cNvSpPr/>
          <p:nvPr/>
        </p:nvSpPr>
        <p:spPr>
          <a:xfrm>
            <a:off x="4804002" y="4303057"/>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Operating System</a:t>
            </a:r>
            <a:endParaRPr lang="de-DE" sz="1400" dirty="0">
              <a:solidFill>
                <a:schemeClr val="tx1"/>
              </a:solidFill>
            </a:endParaRPr>
          </a:p>
        </p:txBody>
      </p:sp>
      <p:sp>
        <p:nvSpPr>
          <p:cNvPr id="16" name="Rectangle 15">
            <a:extLst>
              <a:ext uri="{FF2B5EF4-FFF2-40B4-BE49-F238E27FC236}">
                <a16:creationId xmlns:a16="http://schemas.microsoft.com/office/drawing/2014/main" id="{F008460E-3A02-4DCB-A190-9FE0BFA004B4}"/>
              </a:ext>
            </a:extLst>
          </p:cNvPr>
          <p:cNvSpPr/>
          <p:nvPr/>
        </p:nvSpPr>
        <p:spPr>
          <a:xfrm>
            <a:off x="4822005" y="2362741"/>
            <a:ext cx="2088232"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Applications</a:t>
            </a:r>
            <a:endParaRPr lang="de-DE" sz="1400" dirty="0">
              <a:solidFill>
                <a:schemeClr val="tx1"/>
              </a:solidFill>
            </a:endParaRPr>
          </a:p>
        </p:txBody>
      </p:sp>
      <p:cxnSp>
        <p:nvCxnSpPr>
          <p:cNvPr id="17" name="Straight Connector 16">
            <a:extLst>
              <a:ext uri="{FF2B5EF4-FFF2-40B4-BE49-F238E27FC236}">
                <a16:creationId xmlns:a16="http://schemas.microsoft.com/office/drawing/2014/main" id="{042F8346-4D21-46C1-A78E-FE1A5CA97F08}"/>
              </a:ext>
            </a:extLst>
          </p:cNvPr>
          <p:cNvCxnSpPr>
            <a:cxnSpLocks/>
          </p:cNvCxnSpPr>
          <p:nvPr/>
        </p:nvCxnSpPr>
        <p:spPr>
          <a:xfrm>
            <a:off x="2444168" y="3286198"/>
            <a:ext cx="645305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A23CA69-58F7-46F0-AF3E-486E4413E8D1}"/>
              </a:ext>
            </a:extLst>
          </p:cNvPr>
          <p:cNvSpPr txBox="1"/>
          <p:nvPr/>
        </p:nvSpPr>
        <p:spPr>
          <a:xfrm>
            <a:off x="391643" y="993358"/>
            <a:ext cx="7419339" cy="954107"/>
          </a:xfrm>
          <a:prstGeom prst="rect">
            <a:avLst/>
          </a:prstGeom>
          <a:noFill/>
        </p:spPr>
        <p:txBody>
          <a:bodyPr wrap="none" rtlCol="0">
            <a:spAutoFit/>
          </a:bodyPr>
          <a:lstStyle/>
          <a:p>
            <a:pPr marL="285750" indent="-285750">
              <a:buFont typeface="Arial" panose="020B0604020202020204" pitchFamily="34" charset="0"/>
              <a:buChar char="•"/>
            </a:pPr>
            <a:r>
              <a:rPr lang="pl-PL" sz="1400" dirty="0"/>
              <a:t>Consumer are developers</a:t>
            </a:r>
          </a:p>
          <a:p>
            <a:pPr marL="285750" indent="-285750">
              <a:buFont typeface="Arial" panose="020B0604020202020204" pitchFamily="34" charset="0"/>
              <a:buChar char="•"/>
            </a:pPr>
            <a:r>
              <a:rPr lang="pl-PL" sz="1400" dirty="0"/>
              <a:t>Framework provides OS, runtime environment, database, web server</a:t>
            </a:r>
          </a:p>
          <a:p>
            <a:pPr marL="285750" indent="-285750">
              <a:buFont typeface="Arial" panose="020B0604020202020204" pitchFamily="34" charset="0"/>
              <a:buChar char="•"/>
            </a:pPr>
            <a:r>
              <a:rPr lang="pl-PL" sz="1400" dirty="0"/>
              <a:t>Patching OS is done by provider</a:t>
            </a:r>
          </a:p>
          <a:p>
            <a:pPr marL="285750" indent="-285750">
              <a:buFont typeface="Arial" panose="020B0604020202020204" pitchFamily="34" charset="0"/>
              <a:buChar char="•"/>
            </a:pPr>
            <a:r>
              <a:rPr lang="pl-PL" sz="1400" dirty="0"/>
              <a:t>Application design, development, testing, deployment, hosting, collaboration</a:t>
            </a:r>
            <a:endParaRPr lang="de-DE" sz="1400" dirty="0"/>
          </a:p>
        </p:txBody>
      </p:sp>
      <p:sp>
        <p:nvSpPr>
          <p:cNvPr id="21" name="TextBox 20">
            <a:extLst>
              <a:ext uri="{FF2B5EF4-FFF2-40B4-BE49-F238E27FC236}">
                <a16:creationId xmlns:a16="http://schemas.microsoft.com/office/drawing/2014/main" id="{DD621FD2-869B-4A37-8DE0-DCC9A3D83D03}"/>
              </a:ext>
            </a:extLst>
          </p:cNvPr>
          <p:cNvSpPr txBox="1"/>
          <p:nvPr/>
        </p:nvSpPr>
        <p:spPr>
          <a:xfrm rot="16200000">
            <a:off x="3419875" y="2479741"/>
            <a:ext cx="1055097" cy="307777"/>
          </a:xfrm>
          <a:prstGeom prst="rect">
            <a:avLst/>
          </a:prstGeom>
          <a:noFill/>
        </p:spPr>
        <p:txBody>
          <a:bodyPr wrap="square" rtlCol="0">
            <a:spAutoFit/>
          </a:bodyPr>
          <a:lstStyle/>
          <a:p>
            <a:r>
              <a:rPr lang="pl-PL" sz="1400" dirty="0"/>
              <a:t>Customer</a:t>
            </a:r>
            <a:endParaRPr lang="de-DE" sz="1400" dirty="0"/>
          </a:p>
        </p:txBody>
      </p:sp>
      <p:sp>
        <p:nvSpPr>
          <p:cNvPr id="22" name="TextBox 21">
            <a:extLst>
              <a:ext uri="{FF2B5EF4-FFF2-40B4-BE49-F238E27FC236}">
                <a16:creationId xmlns:a16="http://schemas.microsoft.com/office/drawing/2014/main" id="{4CBD4A3B-BA58-4845-AD14-5E04D0FBD95E}"/>
              </a:ext>
            </a:extLst>
          </p:cNvPr>
          <p:cNvSpPr txBox="1"/>
          <p:nvPr/>
        </p:nvSpPr>
        <p:spPr>
          <a:xfrm rot="16200000">
            <a:off x="3482264" y="4739414"/>
            <a:ext cx="930319" cy="307777"/>
          </a:xfrm>
          <a:prstGeom prst="rect">
            <a:avLst/>
          </a:prstGeom>
          <a:noFill/>
        </p:spPr>
        <p:txBody>
          <a:bodyPr wrap="none" rtlCol="0">
            <a:spAutoFit/>
          </a:bodyPr>
          <a:lstStyle/>
          <a:p>
            <a:r>
              <a:rPr lang="pl-PL" sz="1400" dirty="0"/>
              <a:t>Provider</a:t>
            </a:r>
            <a:endParaRPr lang="de-DE" sz="1400" dirty="0"/>
          </a:p>
        </p:txBody>
      </p:sp>
      <p:pic>
        <p:nvPicPr>
          <p:cNvPr id="3" name="Picture 2">
            <a:extLst>
              <a:ext uri="{FF2B5EF4-FFF2-40B4-BE49-F238E27FC236}">
                <a16:creationId xmlns:a16="http://schemas.microsoft.com/office/drawing/2014/main" id="{7C1587CC-251A-4760-AD02-DE33C61D1210}"/>
              </a:ext>
            </a:extLst>
          </p:cNvPr>
          <p:cNvPicPr>
            <a:picLocks noChangeAspect="1"/>
          </p:cNvPicPr>
          <p:nvPr/>
        </p:nvPicPr>
        <p:blipFill>
          <a:blip r:embed="rId2"/>
          <a:stretch>
            <a:fillRect/>
          </a:stretch>
        </p:blipFill>
        <p:spPr>
          <a:xfrm>
            <a:off x="10056440" y="2106080"/>
            <a:ext cx="1651628" cy="844630"/>
          </a:xfrm>
          <a:prstGeom prst="rect">
            <a:avLst/>
          </a:prstGeom>
        </p:spPr>
      </p:pic>
      <p:pic>
        <p:nvPicPr>
          <p:cNvPr id="18" name="Picture 17">
            <a:extLst>
              <a:ext uri="{FF2B5EF4-FFF2-40B4-BE49-F238E27FC236}">
                <a16:creationId xmlns:a16="http://schemas.microsoft.com/office/drawing/2014/main" id="{28DF47FE-DBE7-4099-B056-AE5016F22496}"/>
              </a:ext>
            </a:extLst>
          </p:cNvPr>
          <p:cNvPicPr>
            <a:picLocks noChangeAspect="1"/>
          </p:cNvPicPr>
          <p:nvPr/>
        </p:nvPicPr>
        <p:blipFill>
          <a:blip r:embed="rId3"/>
          <a:stretch>
            <a:fillRect/>
          </a:stretch>
        </p:blipFill>
        <p:spPr>
          <a:xfrm>
            <a:off x="10056439" y="3374403"/>
            <a:ext cx="1584177" cy="582857"/>
          </a:xfrm>
          <a:prstGeom prst="rect">
            <a:avLst/>
          </a:prstGeom>
        </p:spPr>
      </p:pic>
    </p:spTree>
    <p:extLst>
      <p:ext uri="{BB962C8B-B14F-4D97-AF65-F5344CB8AC3E}">
        <p14:creationId xmlns:p14="http://schemas.microsoft.com/office/powerpoint/2010/main" val="1854924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FILLTRANSPARENCY" val="0"/>
  <p:tag name="HIDDEN" val="False"/>
</p:tagLst>
</file>

<file path=ppt/tags/tag22.xml><?xml version="1.0" encoding="utf-8"?>
<p:tagLst xmlns:a="http://schemas.openxmlformats.org/drawingml/2006/main" xmlns:r="http://schemas.openxmlformats.org/officeDocument/2006/relationships" xmlns:p="http://schemas.openxmlformats.org/presentationml/2006/main">
  <p:tag name="FILLTRANSPARENCY" val="0"/>
  <p:tag name="HIDDEN" val="False"/>
</p:tagLst>
</file>

<file path=ppt/tags/tag2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jKa.Hnvk1Ei56tycl45NmQ"/>
</p:tagLst>
</file>

<file path=ppt/tags/tag2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X1HnA04mBUagGnWMBkh.Wg"/>
</p:tagLst>
</file>

<file path=ppt/tags/tag25.xml><?xml version="1.0" encoding="utf-8"?>
<p:tagLst xmlns:a="http://schemas.openxmlformats.org/drawingml/2006/main" xmlns:r="http://schemas.openxmlformats.org/officeDocument/2006/relationships" xmlns:p="http://schemas.openxmlformats.org/presentationml/2006/main">
  <p:tag name="BULLETS" val="true"/>
</p:tagLst>
</file>

<file path=ppt/tags/tag26.xml><?xml version="1.0" encoding="utf-8"?>
<p:tagLst xmlns:a="http://schemas.openxmlformats.org/drawingml/2006/main" xmlns:r="http://schemas.openxmlformats.org/officeDocument/2006/relationships" xmlns:p="http://schemas.openxmlformats.org/presentationml/2006/main">
  <p:tag name="BULLETS" val="true"/>
</p:tagLst>
</file>

<file path=ppt/tags/tag27.xml><?xml version="1.0" encoding="utf-8"?>
<p:tagLst xmlns:a="http://schemas.openxmlformats.org/drawingml/2006/main" xmlns:r="http://schemas.openxmlformats.org/officeDocument/2006/relationships" xmlns:p="http://schemas.openxmlformats.org/presentationml/2006/main">
  <p:tag name="SHAPE1" val="329"/>
  <p:tag name="SHAPE2" val="324"/>
  <p:tag name="HORIZONTALLY" val="True"/>
  <p:tag name="AUTOZOOM" val="true"/>
</p:tagLst>
</file>

<file path=ppt/tags/tag28.xml><?xml version="1.0" encoding="utf-8"?>
<p:tagLst xmlns:a="http://schemas.openxmlformats.org/drawingml/2006/main" xmlns:r="http://schemas.openxmlformats.org/officeDocument/2006/relationships" xmlns:p="http://schemas.openxmlformats.org/presentationml/2006/main">
  <p:tag name="SHAPE1" val="329"/>
  <p:tag name="SHAPE2" val="324"/>
  <p:tag name="HORIZONTALLY" val="True"/>
  <p:tag name="AUTOZOOM" val="true"/>
</p:tagLst>
</file>

<file path=ppt/tags/tag29.xml><?xml version="1.0" encoding="utf-8"?>
<p:tagLst xmlns:a="http://schemas.openxmlformats.org/drawingml/2006/main" xmlns:r="http://schemas.openxmlformats.org/officeDocument/2006/relationships" xmlns:p="http://schemas.openxmlformats.org/presentationml/2006/main">
  <p:tag name="SHAPE1" val="329"/>
  <p:tag name="SHAPE2" val="324"/>
  <p:tag name="HORIZONTALLY" val="True"/>
  <p:tag name="AUTOZOOM"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1" val="329"/>
  <p:tag name="SHAPE2" val="324"/>
  <p:tag name="HORIZONTALLY" val="True"/>
  <p:tag name="AUTOZOOM" val="true"/>
</p:tagLst>
</file>

<file path=ppt/tags/tag31.xml><?xml version="1.0" encoding="utf-8"?>
<p:tagLst xmlns:a="http://schemas.openxmlformats.org/drawingml/2006/main" xmlns:r="http://schemas.openxmlformats.org/officeDocument/2006/relationships" xmlns:p="http://schemas.openxmlformats.org/presentationml/2006/main">
  <p:tag name="SHAPE1" val="329"/>
  <p:tag name="SHAPE2" val="324"/>
  <p:tag name="HORIZONTALLY" val="True"/>
  <p:tag name="AUTOZOOM" val="true"/>
</p:tagLst>
</file>

<file path=ppt/tags/tag32.xml><?xml version="1.0" encoding="utf-8"?>
<p:tagLst xmlns:a="http://schemas.openxmlformats.org/drawingml/2006/main" xmlns:r="http://schemas.openxmlformats.org/officeDocument/2006/relationships" xmlns:p="http://schemas.openxmlformats.org/presentationml/2006/main">
  <p:tag name="SHAPE1" val="329"/>
  <p:tag name="SHAPE2" val="324"/>
  <p:tag name="HORIZONTALLY" val="True"/>
  <p:tag name="AUTOZOOM" val="true"/>
</p:tagLst>
</file>

<file path=ppt/tags/tag33.xml><?xml version="1.0" encoding="utf-8"?>
<p:tagLst xmlns:a="http://schemas.openxmlformats.org/drawingml/2006/main" xmlns:r="http://schemas.openxmlformats.org/officeDocument/2006/relationships" xmlns:p="http://schemas.openxmlformats.org/presentationml/2006/main">
  <p:tag name="SHAPE1" val="329"/>
  <p:tag name="SHAPE2" val="324"/>
  <p:tag name="HORIZONTALLY" val="True"/>
  <p:tag name="AUTOZOOM" val="true"/>
</p:tagLst>
</file>

<file path=ppt/tags/tag34.xml><?xml version="1.0" encoding="utf-8"?>
<p:tagLst xmlns:a="http://schemas.openxmlformats.org/drawingml/2006/main" xmlns:r="http://schemas.openxmlformats.org/officeDocument/2006/relationships" xmlns:p="http://schemas.openxmlformats.org/presentationml/2006/main">
  <p:tag name="LINEFORECOLOR" val="9144453"/>
  <p:tag name="LINEFORESCHEMECOLOR" val="9"/>
  <p:tag name="FILLFORECOLOR" val="15921906"/>
  <p:tag name="FILLFORESCHEMECOLOR" val="14"/>
</p:tagLst>
</file>

<file path=ppt/tags/tag35.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 name="LINEFORECOLOR" val="9144453"/>
  <p:tag name="LINEFORESCHEMECOLOR" val="9"/>
</p:tagLst>
</file>

<file path=ppt/tags/tag36.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 name="LINEFORECOLOR" val="9144453"/>
  <p:tag name="LINEFORESCHEMECOLOR" val="9"/>
</p:tagLst>
</file>

<file path=ppt/tags/tag37.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 name="LINEFORECOLOR" val="9144453"/>
  <p:tag name="LINEFORESCHEMECOLOR" val="9"/>
</p:tagLst>
</file>

<file path=ppt/tags/tag38.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 name="LINEFORECOLOR" val="9144453"/>
  <p:tag name="LINEFORESCHEMECOLOR" val="9"/>
</p:tagLst>
</file>

<file path=ppt/tags/tag39.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 name="LINEFORECOLOR" val="9144453"/>
  <p:tag name="LINEFORESCHEMECOLOR" val="9"/>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ULLETS" val="true"/>
</p:tagLst>
</file>

<file path=ppt/tags/tag41.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 name="LINEFORECOLOR" val="9144453"/>
  <p:tag name="LINEFORESCHEMECOLOR" val="9"/>
</p:tagLst>
</file>

<file path=ppt/tags/tag42.xml><?xml version="1.0" encoding="utf-8"?>
<p:tagLst xmlns:a="http://schemas.openxmlformats.org/drawingml/2006/main" xmlns:r="http://schemas.openxmlformats.org/officeDocument/2006/relationships" xmlns:p="http://schemas.openxmlformats.org/presentationml/2006/main">
  <p:tag name="BULLETS" val="true"/>
</p:tagLst>
</file>

<file path=ppt/tags/tag43.xml><?xml version="1.0" encoding="utf-8"?>
<p:tagLst xmlns:a="http://schemas.openxmlformats.org/drawingml/2006/main" xmlns:r="http://schemas.openxmlformats.org/officeDocument/2006/relationships" xmlns:p="http://schemas.openxmlformats.org/presentationml/2006/main">
  <p:tag name="BULLETS" val="true"/>
</p:tagLst>
</file>

<file path=ppt/tags/tag44.xml><?xml version="1.0" encoding="utf-8"?>
<p:tagLst xmlns:a="http://schemas.openxmlformats.org/drawingml/2006/main" xmlns:r="http://schemas.openxmlformats.org/officeDocument/2006/relationships" xmlns:p="http://schemas.openxmlformats.org/presentationml/2006/main">
  <p:tag name="BULLETS" val="true"/>
</p:tagLst>
</file>

<file path=ppt/tags/tag45.xml><?xml version="1.0" encoding="utf-8"?>
<p:tagLst xmlns:a="http://schemas.openxmlformats.org/drawingml/2006/main" xmlns:r="http://schemas.openxmlformats.org/officeDocument/2006/relationships" xmlns:p="http://schemas.openxmlformats.org/presentationml/2006/main">
  <p:tag name="BULLETS" val="true"/>
</p:tagLst>
</file>

<file path=ppt/tags/tag46.xml><?xml version="1.0" encoding="utf-8"?>
<p:tagLst xmlns:a="http://schemas.openxmlformats.org/drawingml/2006/main" xmlns:r="http://schemas.openxmlformats.org/officeDocument/2006/relationships" xmlns:p="http://schemas.openxmlformats.org/presentationml/2006/main">
  <p:tag name="BULLETS" val="true"/>
</p:tagLst>
</file>

<file path=ppt/tags/tag47.xml><?xml version="1.0" encoding="utf-8"?>
<p:tagLst xmlns:a="http://schemas.openxmlformats.org/drawingml/2006/main" xmlns:r="http://schemas.openxmlformats.org/officeDocument/2006/relationships" xmlns:p="http://schemas.openxmlformats.org/presentationml/2006/main">
  <p:tag name="BULLETS" val="true"/>
</p:tagLst>
</file>

<file path=ppt/tags/tag48.xml><?xml version="1.0" encoding="utf-8"?>
<p:tagLst xmlns:a="http://schemas.openxmlformats.org/drawingml/2006/main" xmlns:r="http://schemas.openxmlformats.org/officeDocument/2006/relationships" xmlns:p="http://schemas.openxmlformats.org/presentationml/2006/main">
  <p:tag name="BULLETS"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IS CE Template.potx" id="{6B51A172-FDFC-43C4-A02B-111E2C4D3334}" vid="{8A5C4514-1669-47B6-BDB6-AE7A336969FC}"/>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011</Words>
  <Application>Microsoft Office PowerPoint</Application>
  <PresentationFormat>Widescreen</PresentationFormat>
  <Paragraphs>219</Paragraphs>
  <Slides>1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Verdana</vt:lpstr>
      <vt:lpstr>Wingdings</vt:lpstr>
      <vt:lpstr>Capgemini Global 2017</vt:lpstr>
      <vt:lpstr>think-cell Slide</vt:lpstr>
      <vt:lpstr>Cloud Basics</vt:lpstr>
      <vt:lpstr>Cloud –NISC (National Institute of Standard and Technology) </vt:lpstr>
      <vt:lpstr>On Premise – you provision and manage</vt:lpstr>
      <vt:lpstr>On Premise vs Cloud</vt:lpstr>
      <vt:lpstr>Benefits of cloud computing</vt:lpstr>
      <vt:lpstr>Cloud advantages</vt:lpstr>
      <vt:lpstr>Cloud Service Models</vt:lpstr>
      <vt:lpstr>IaaS</vt:lpstr>
      <vt:lpstr>PaaS</vt:lpstr>
      <vt:lpstr>SaaS</vt:lpstr>
      <vt:lpstr>Cloud Deployment Models</vt:lpstr>
      <vt:lpstr>Public Cloud</vt:lpstr>
      <vt:lpstr>Private Cloud</vt:lpstr>
      <vt:lpstr>Hybrid Cloud</vt:lpstr>
      <vt:lpstr>Community Cloud</vt:lpstr>
      <vt:lpstr>Cloud disadvantage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Bytner, Justyna</dc:creator>
  <cp:lastModifiedBy>Sobkowiak, Krzysztof</cp:lastModifiedBy>
  <cp:revision>78</cp:revision>
  <dcterms:created xsi:type="dcterms:W3CDTF">2018-05-22T05:53:28Z</dcterms:created>
  <dcterms:modified xsi:type="dcterms:W3CDTF">2021-04-17T20:04:59Z</dcterms:modified>
</cp:coreProperties>
</file>